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5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6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17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18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23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2"/>
  </p:notesMasterIdLst>
  <p:sldIdLst>
    <p:sldId id="1428" r:id="rId2"/>
    <p:sldId id="1551" r:id="rId3"/>
    <p:sldId id="1781" r:id="rId4"/>
    <p:sldId id="1866" r:id="rId5"/>
    <p:sldId id="1886" r:id="rId6"/>
    <p:sldId id="1574" r:id="rId7"/>
    <p:sldId id="1592" r:id="rId8"/>
    <p:sldId id="1593" r:id="rId9"/>
    <p:sldId id="1556" r:id="rId10"/>
    <p:sldId id="1624" r:id="rId11"/>
    <p:sldId id="1625" r:id="rId12"/>
    <p:sldId id="1824" r:id="rId13"/>
    <p:sldId id="1825" r:id="rId14"/>
    <p:sldId id="1826" r:id="rId15"/>
    <p:sldId id="1827" r:id="rId16"/>
    <p:sldId id="1630" r:id="rId17"/>
    <p:sldId id="1631" r:id="rId18"/>
    <p:sldId id="1632" r:id="rId19"/>
    <p:sldId id="1633" r:id="rId20"/>
    <p:sldId id="1634" r:id="rId21"/>
    <p:sldId id="1904" r:id="rId22"/>
    <p:sldId id="1636" r:id="rId23"/>
    <p:sldId id="1637" r:id="rId24"/>
    <p:sldId id="1905" r:id="rId25"/>
    <p:sldId id="1474" r:id="rId26"/>
    <p:sldId id="1481" r:id="rId27"/>
    <p:sldId id="1482" r:id="rId28"/>
    <p:sldId id="1475" r:id="rId29"/>
    <p:sldId id="1483" r:id="rId30"/>
    <p:sldId id="1484" r:id="rId31"/>
    <p:sldId id="1476" r:id="rId32"/>
    <p:sldId id="1523" r:id="rId33"/>
    <p:sldId id="1524" r:id="rId34"/>
    <p:sldId id="1595" r:id="rId35"/>
    <p:sldId id="1639" r:id="rId36"/>
    <p:sldId id="1802" r:id="rId37"/>
    <p:sldId id="1829" r:id="rId38"/>
    <p:sldId id="1823" r:id="rId39"/>
    <p:sldId id="1845" r:id="rId40"/>
    <p:sldId id="1864" r:id="rId41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FF00"/>
    <a:srgbClr val="FF9966"/>
    <a:srgbClr val="FF9933"/>
    <a:srgbClr val="00B0F0"/>
    <a:srgbClr val="BFBFBF"/>
    <a:srgbClr val="A6A6A6"/>
    <a:srgbClr val="7F7F7F"/>
    <a:srgbClr val="8053F0"/>
    <a:srgbClr val="300C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9" autoAdjust="0"/>
    <p:restoredTop sz="96400" autoAdjust="0"/>
  </p:normalViewPr>
  <p:slideViewPr>
    <p:cSldViewPr snapToGrid="0">
      <p:cViewPr varScale="1">
        <p:scale>
          <a:sx n="106" d="100"/>
          <a:sy n="106" d="100"/>
        </p:scale>
        <p:origin x="270" y="108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50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S$1</c:f>
              <c:strCache>
                <c:ptCount val="18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</c:strCache>
            </c:strRef>
          </c:cat>
          <c:val>
            <c:numRef>
              <c:f>List1!$B$2:$S$2</c:f>
              <c:numCache>
                <c:formatCode>General</c:formatCode>
                <c:ptCount val="18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760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75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2</c:v>
                </c:pt>
                <c:pt idx="17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7.2488169768600615E-3"/>
                  <c:y val="2.582755275192913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5947144223246108</c:v>
                </c:pt>
                <c:pt idx="1">
                  <c:v>0.14052855776753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1.7357158033531071E-2"/>
                  <c:y val="4.561912679680030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1559708388951644</c:v>
                </c:pt>
                <c:pt idx="1">
                  <c:v>8.44029161104836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nakažený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17</c:f>
              <c:numCache>
                <c:formatCode>m/d/yyyy</c:formatCode>
                <c:ptCount val="4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</c:numCache>
            </c:numRef>
          </c:cat>
          <c:val>
            <c:numRef>
              <c:f>List1!$B$2:$B$417</c:f>
              <c:numCache>
                <c:formatCode>General</c:formatCode>
                <c:ptCount val="416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11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4</c:v>
                </c:pt>
                <c:pt idx="18">
                  <c:v>15</c:v>
                </c:pt>
                <c:pt idx="19">
                  <c:v>18</c:v>
                </c:pt>
                <c:pt idx="20">
                  <c:v>19</c:v>
                </c:pt>
                <c:pt idx="21">
                  <c:v>19</c:v>
                </c:pt>
                <c:pt idx="22">
                  <c:v>20</c:v>
                </c:pt>
                <c:pt idx="23">
                  <c:v>23</c:v>
                </c:pt>
                <c:pt idx="24">
                  <c:v>24</c:v>
                </c:pt>
                <c:pt idx="25">
                  <c:v>29</c:v>
                </c:pt>
                <c:pt idx="26">
                  <c:v>34</c:v>
                </c:pt>
                <c:pt idx="27">
                  <c:v>37</c:v>
                </c:pt>
                <c:pt idx="28">
                  <c:v>42</c:v>
                </c:pt>
                <c:pt idx="29">
                  <c:v>70</c:v>
                </c:pt>
                <c:pt idx="30">
                  <c:v>100</c:v>
                </c:pt>
                <c:pt idx="31">
                  <c:v>160</c:v>
                </c:pt>
                <c:pt idx="32">
                  <c:v>196</c:v>
                </c:pt>
                <c:pt idx="33">
                  <c:v>250</c:v>
                </c:pt>
                <c:pt idx="34">
                  <c:v>387</c:v>
                </c:pt>
                <c:pt idx="35">
                  <c:v>469</c:v>
                </c:pt>
                <c:pt idx="36">
                  <c:v>514</c:v>
                </c:pt>
                <c:pt idx="37">
                  <c:v>592</c:v>
                </c:pt>
                <c:pt idx="38">
                  <c:v>731</c:v>
                </c:pt>
                <c:pt idx="39">
                  <c:v>761</c:v>
                </c:pt>
                <c:pt idx="40">
                  <c:v>772</c:v>
                </c:pt>
                <c:pt idx="41">
                  <c:v>910</c:v>
                </c:pt>
                <c:pt idx="42">
                  <c:v>1132</c:v>
                </c:pt>
                <c:pt idx="43">
                  <c:v>1313</c:v>
                </c:pt>
                <c:pt idx="44">
                  <c:v>1503</c:v>
                </c:pt>
                <c:pt idx="45">
                  <c:v>1707</c:v>
                </c:pt>
                <c:pt idx="46">
                  <c:v>1862</c:v>
                </c:pt>
                <c:pt idx="47">
                  <c:v>1903</c:v>
                </c:pt>
                <c:pt idx="48">
                  <c:v>2145</c:v>
                </c:pt>
                <c:pt idx="49">
                  <c:v>2341</c:v>
                </c:pt>
                <c:pt idx="50">
                  <c:v>2667</c:v>
                </c:pt>
                <c:pt idx="51">
                  <c:v>2893</c:v>
                </c:pt>
                <c:pt idx="52">
                  <c:v>3308</c:v>
                </c:pt>
                <c:pt idx="53">
                  <c:v>3535</c:v>
                </c:pt>
                <c:pt idx="54">
                  <c:v>3729</c:v>
                </c:pt>
                <c:pt idx="55">
                  <c:v>4116</c:v>
                </c:pt>
                <c:pt idx="56">
                  <c:v>4637</c:v>
                </c:pt>
                <c:pt idx="57">
                  <c:v>4897</c:v>
                </c:pt>
                <c:pt idx="58">
                  <c:v>5432</c:v>
                </c:pt>
                <c:pt idx="59">
                  <c:v>6019</c:v>
                </c:pt>
                <c:pt idx="60">
                  <c:v>6355</c:v>
                </c:pt>
                <c:pt idx="61">
                  <c:v>6567</c:v>
                </c:pt>
                <c:pt idx="62">
                  <c:v>6897</c:v>
                </c:pt>
                <c:pt idx="63">
                  <c:v>7229</c:v>
                </c:pt>
                <c:pt idx="64">
                  <c:v>7653</c:v>
                </c:pt>
                <c:pt idx="65">
                  <c:v>8186</c:v>
                </c:pt>
                <c:pt idx="66">
                  <c:v>8673</c:v>
                </c:pt>
                <c:pt idx="67">
                  <c:v>8887</c:v>
                </c:pt>
                <c:pt idx="68">
                  <c:v>8965</c:v>
                </c:pt>
                <c:pt idx="69">
                  <c:v>9167</c:v>
                </c:pt>
                <c:pt idx="70">
                  <c:v>9552</c:v>
                </c:pt>
                <c:pt idx="71">
                  <c:v>10226</c:v>
                </c:pt>
                <c:pt idx="72">
                  <c:v>10725</c:v>
                </c:pt>
                <c:pt idx="73">
                  <c:v>11205</c:v>
                </c:pt>
                <c:pt idx="74">
                  <c:v>11384</c:v>
                </c:pt>
                <c:pt idx="75">
                  <c:v>11548</c:v>
                </c:pt>
                <c:pt idx="76">
                  <c:v>11929</c:v>
                </c:pt>
                <c:pt idx="77">
                  <c:v>12066</c:v>
                </c:pt>
                <c:pt idx="78">
                  <c:v>12335</c:v>
                </c:pt>
                <c:pt idx="79">
                  <c:v>12604</c:v>
                </c:pt>
                <c:pt idx="80">
                  <c:v>12842</c:v>
                </c:pt>
                <c:pt idx="81">
                  <c:v>12936</c:v>
                </c:pt>
                <c:pt idx="82">
                  <c:v>13027</c:v>
                </c:pt>
                <c:pt idx="83">
                  <c:v>13406</c:v>
                </c:pt>
                <c:pt idx="84">
                  <c:v>13604</c:v>
                </c:pt>
                <c:pt idx="85">
                  <c:v>13727</c:v>
                </c:pt>
                <c:pt idx="86">
                  <c:v>13922</c:v>
                </c:pt>
                <c:pt idx="87">
                  <c:v>14060</c:v>
                </c:pt>
                <c:pt idx="88">
                  <c:v>14138</c:v>
                </c:pt>
                <c:pt idx="89">
                  <c:v>14166</c:v>
                </c:pt>
                <c:pt idx="90">
                  <c:v>14381</c:v>
                </c:pt>
                <c:pt idx="91">
                  <c:v>14504</c:v>
                </c:pt>
                <c:pt idx="92">
                  <c:v>14636</c:v>
                </c:pt>
                <c:pt idx="93">
                  <c:v>14768</c:v>
                </c:pt>
                <c:pt idx="94">
                  <c:v>14907</c:v>
                </c:pt>
                <c:pt idx="95">
                  <c:v>14995</c:v>
                </c:pt>
                <c:pt idx="96">
                  <c:v>15015</c:v>
                </c:pt>
                <c:pt idx="97">
                  <c:v>15157</c:v>
                </c:pt>
                <c:pt idx="98">
                  <c:v>15246</c:v>
                </c:pt>
                <c:pt idx="99">
                  <c:v>15387</c:v>
                </c:pt>
                <c:pt idx="100">
                  <c:v>15470</c:v>
                </c:pt>
                <c:pt idx="101">
                  <c:v>15699</c:v>
                </c:pt>
                <c:pt idx="102">
                  <c:v>15766</c:v>
                </c:pt>
                <c:pt idx="103">
                  <c:v>15816</c:v>
                </c:pt>
                <c:pt idx="104">
                  <c:v>15964</c:v>
                </c:pt>
                <c:pt idx="105">
                  <c:v>16097</c:v>
                </c:pt>
                <c:pt idx="106">
                  <c:v>16197</c:v>
                </c:pt>
                <c:pt idx="107">
                  <c:v>16265</c:v>
                </c:pt>
                <c:pt idx="108">
                  <c:v>16480</c:v>
                </c:pt>
                <c:pt idx="109">
                  <c:v>16539</c:v>
                </c:pt>
                <c:pt idx="110">
                  <c:v>16560</c:v>
                </c:pt>
                <c:pt idx="111">
                  <c:v>16739</c:v>
                </c:pt>
                <c:pt idx="112">
                  <c:v>16913</c:v>
                </c:pt>
                <c:pt idx="113">
                  <c:v>17035</c:v>
                </c:pt>
                <c:pt idx="114">
                  <c:v>17053</c:v>
                </c:pt>
                <c:pt idx="115">
                  <c:v>17124</c:v>
                </c:pt>
                <c:pt idx="116">
                  <c:v>17201</c:v>
                </c:pt>
                <c:pt idx="117">
                  <c:v>17298</c:v>
                </c:pt>
                <c:pt idx="118">
                  <c:v>17463</c:v>
                </c:pt>
                <c:pt idx="119">
                  <c:v>17649</c:v>
                </c:pt>
                <c:pt idx="120">
                  <c:v>17792</c:v>
                </c:pt>
                <c:pt idx="121">
                  <c:v>17925</c:v>
                </c:pt>
                <c:pt idx="122">
                  <c:v>17989</c:v>
                </c:pt>
                <c:pt idx="123">
                  <c:v>18048</c:v>
                </c:pt>
                <c:pt idx="124">
                  <c:v>18089</c:v>
                </c:pt>
                <c:pt idx="125">
                  <c:v>18356</c:v>
                </c:pt>
                <c:pt idx="126">
                  <c:v>18507</c:v>
                </c:pt>
                <c:pt idx="127">
                  <c:v>18671</c:v>
                </c:pt>
                <c:pt idx="128">
                  <c:v>18902</c:v>
                </c:pt>
                <c:pt idx="129">
                  <c:v>19086</c:v>
                </c:pt>
                <c:pt idx="130">
                  <c:v>19146</c:v>
                </c:pt>
                <c:pt idx="131">
                  <c:v>19174</c:v>
                </c:pt>
                <c:pt idx="132">
                  <c:v>19412</c:v>
                </c:pt>
                <c:pt idx="133">
                  <c:v>19537</c:v>
                </c:pt>
                <c:pt idx="134">
                  <c:v>19712</c:v>
                </c:pt>
                <c:pt idx="135">
                  <c:v>19809</c:v>
                </c:pt>
                <c:pt idx="136">
                  <c:v>19894</c:v>
                </c:pt>
                <c:pt idx="137">
                  <c:v>19929</c:v>
                </c:pt>
                <c:pt idx="138">
                  <c:v>19974</c:v>
                </c:pt>
                <c:pt idx="139">
                  <c:v>20134</c:v>
                </c:pt>
                <c:pt idx="140">
                  <c:v>20212</c:v>
                </c:pt>
                <c:pt idx="141">
                  <c:v>20358</c:v>
                </c:pt>
                <c:pt idx="142">
                  <c:v>20464</c:v>
                </c:pt>
                <c:pt idx="143">
                  <c:v>20578</c:v>
                </c:pt>
                <c:pt idx="144">
                  <c:v>20631</c:v>
                </c:pt>
                <c:pt idx="145">
                  <c:v>20655</c:v>
                </c:pt>
                <c:pt idx="146">
                  <c:v>20740</c:v>
                </c:pt>
                <c:pt idx="147">
                  <c:v>20781</c:v>
                </c:pt>
                <c:pt idx="148">
                  <c:v>20874</c:v>
                </c:pt>
                <c:pt idx="149">
                  <c:v>20939</c:v>
                </c:pt>
                <c:pt idx="150">
                  <c:v>20976</c:v>
                </c:pt>
                <c:pt idx="151">
                  <c:v>21025</c:v>
                </c:pt>
                <c:pt idx="152">
                  <c:v>21034</c:v>
                </c:pt>
                <c:pt idx="153">
                  <c:v>21139</c:v>
                </c:pt>
                <c:pt idx="154">
                  <c:v>21233</c:v>
                </c:pt>
                <c:pt idx="155">
                  <c:v>21335</c:v>
                </c:pt>
                <c:pt idx="156">
                  <c:v>21417</c:v>
                </c:pt>
                <c:pt idx="157">
                  <c:v>21501</c:v>
                </c:pt>
                <c:pt idx="158">
                  <c:v>21543</c:v>
                </c:pt>
                <c:pt idx="159">
                  <c:v>21559</c:v>
                </c:pt>
                <c:pt idx="160">
                  <c:v>21622</c:v>
                </c:pt>
                <c:pt idx="161">
                  <c:v>21687</c:v>
                </c:pt>
                <c:pt idx="162">
                  <c:v>21754</c:v>
                </c:pt>
                <c:pt idx="163">
                  <c:v>21819</c:v>
                </c:pt>
                <c:pt idx="164">
                  <c:v>21871</c:v>
                </c:pt>
                <c:pt idx="165">
                  <c:v>21879</c:v>
                </c:pt>
                <c:pt idx="166">
                  <c:v>21891</c:v>
                </c:pt>
                <c:pt idx="167">
                  <c:v>21928</c:v>
                </c:pt>
                <c:pt idx="168">
                  <c:v>21946</c:v>
                </c:pt>
                <c:pt idx="169">
                  <c:v>21976</c:v>
                </c:pt>
                <c:pt idx="170">
                  <c:v>22003</c:v>
                </c:pt>
                <c:pt idx="171">
                  <c:v>22029</c:v>
                </c:pt>
                <c:pt idx="172">
                  <c:v>22047</c:v>
                </c:pt>
                <c:pt idx="173">
                  <c:v>22052</c:v>
                </c:pt>
                <c:pt idx="174">
                  <c:v>22142</c:v>
                </c:pt>
                <c:pt idx="175">
                  <c:v>22177</c:v>
                </c:pt>
                <c:pt idx="176">
                  <c:v>22212</c:v>
                </c:pt>
                <c:pt idx="177">
                  <c:v>22258</c:v>
                </c:pt>
                <c:pt idx="178">
                  <c:v>22304</c:v>
                </c:pt>
                <c:pt idx="179">
                  <c:v>22313</c:v>
                </c:pt>
                <c:pt idx="180">
                  <c:v>22316</c:v>
                </c:pt>
                <c:pt idx="181">
                  <c:v>22394</c:v>
                </c:pt>
                <c:pt idx="182">
                  <c:v>22422</c:v>
                </c:pt>
                <c:pt idx="183">
                  <c:v>22468</c:v>
                </c:pt>
                <c:pt idx="184">
                  <c:v>22477</c:v>
                </c:pt>
                <c:pt idx="185">
                  <c:v>22499</c:v>
                </c:pt>
                <c:pt idx="186">
                  <c:v>22503</c:v>
                </c:pt>
                <c:pt idx="187">
                  <c:v>22508</c:v>
                </c:pt>
                <c:pt idx="188">
                  <c:v>22535</c:v>
                </c:pt>
                <c:pt idx="189">
                  <c:v>22605</c:v>
                </c:pt>
                <c:pt idx="190">
                  <c:v>22660</c:v>
                </c:pt>
                <c:pt idx="191">
                  <c:v>22672</c:v>
                </c:pt>
                <c:pt idx="192">
                  <c:v>22697</c:v>
                </c:pt>
                <c:pt idx="193">
                  <c:v>22706</c:v>
                </c:pt>
                <c:pt idx="194">
                  <c:v>22712</c:v>
                </c:pt>
                <c:pt idx="195">
                  <c:v>22738</c:v>
                </c:pt>
                <c:pt idx="196">
                  <c:v>22758</c:v>
                </c:pt>
                <c:pt idx="197">
                  <c:v>22765</c:v>
                </c:pt>
                <c:pt idx="198">
                  <c:v>22801</c:v>
                </c:pt>
                <c:pt idx="199">
                  <c:v>22819</c:v>
                </c:pt>
                <c:pt idx="200">
                  <c:v>22827</c:v>
                </c:pt>
                <c:pt idx="201">
                  <c:v>22831</c:v>
                </c:pt>
                <c:pt idx="202">
                  <c:v>22844</c:v>
                </c:pt>
                <c:pt idx="203">
                  <c:v>22871</c:v>
                </c:pt>
                <c:pt idx="204">
                  <c:v>22890</c:v>
                </c:pt>
                <c:pt idx="205">
                  <c:v>22921</c:v>
                </c:pt>
                <c:pt idx="206">
                  <c:v>22927</c:v>
                </c:pt>
                <c:pt idx="207">
                  <c:v>22930</c:v>
                </c:pt>
                <c:pt idx="208">
                  <c:v>22934</c:v>
                </c:pt>
                <c:pt idx="209">
                  <c:v>22955</c:v>
                </c:pt>
                <c:pt idx="210">
                  <c:v>22964</c:v>
                </c:pt>
                <c:pt idx="211">
                  <c:v>22972</c:v>
                </c:pt>
                <c:pt idx="212">
                  <c:v>22981</c:v>
                </c:pt>
                <c:pt idx="213">
                  <c:v>22984</c:v>
                </c:pt>
                <c:pt idx="214">
                  <c:v>22987</c:v>
                </c:pt>
                <c:pt idx="215">
                  <c:v>22989</c:v>
                </c:pt>
                <c:pt idx="216">
                  <c:v>22990</c:v>
                </c:pt>
                <c:pt idx="217">
                  <c:v>22995</c:v>
                </c:pt>
                <c:pt idx="218">
                  <c:v>23011</c:v>
                </c:pt>
                <c:pt idx="219">
                  <c:v>23012</c:v>
                </c:pt>
                <c:pt idx="220">
                  <c:v>23015</c:v>
                </c:pt>
                <c:pt idx="221">
                  <c:v>23016</c:v>
                </c:pt>
                <c:pt idx="222">
                  <c:v>23016</c:v>
                </c:pt>
                <c:pt idx="223">
                  <c:v>23017</c:v>
                </c:pt>
                <c:pt idx="224">
                  <c:v>23019</c:v>
                </c:pt>
                <c:pt idx="225">
                  <c:v>23020</c:v>
                </c:pt>
                <c:pt idx="226">
                  <c:v>23023</c:v>
                </c:pt>
                <c:pt idx="227">
                  <c:v>23024</c:v>
                </c:pt>
                <c:pt idx="228">
                  <c:v>23025</c:v>
                </c:pt>
                <c:pt idx="229">
                  <c:v>23026</c:v>
                </c:pt>
                <c:pt idx="230">
                  <c:v>23031</c:v>
                </c:pt>
                <c:pt idx="231">
                  <c:v>23035</c:v>
                </c:pt>
                <c:pt idx="232">
                  <c:v>23038</c:v>
                </c:pt>
                <c:pt idx="233">
                  <c:v>23047</c:v>
                </c:pt>
                <c:pt idx="234">
                  <c:v>23050</c:v>
                </c:pt>
                <c:pt idx="235">
                  <c:v>23051</c:v>
                </c:pt>
                <c:pt idx="236">
                  <c:v>23051</c:v>
                </c:pt>
                <c:pt idx="237">
                  <c:v>23052</c:v>
                </c:pt>
                <c:pt idx="238">
                  <c:v>23055</c:v>
                </c:pt>
                <c:pt idx="239">
                  <c:v>23055</c:v>
                </c:pt>
                <c:pt idx="240">
                  <c:v>23057</c:v>
                </c:pt>
                <c:pt idx="241">
                  <c:v>23058</c:v>
                </c:pt>
                <c:pt idx="242">
                  <c:v>23058</c:v>
                </c:pt>
                <c:pt idx="243">
                  <c:v>23058</c:v>
                </c:pt>
                <c:pt idx="244">
                  <c:v>23058</c:v>
                </c:pt>
                <c:pt idx="245">
                  <c:v>23058</c:v>
                </c:pt>
                <c:pt idx="246">
                  <c:v>23060</c:v>
                </c:pt>
                <c:pt idx="247">
                  <c:v>23060</c:v>
                </c:pt>
                <c:pt idx="248">
                  <c:v>23061</c:v>
                </c:pt>
                <c:pt idx="249">
                  <c:v>23061</c:v>
                </c:pt>
                <c:pt idx="250">
                  <c:v>23064</c:v>
                </c:pt>
                <c:pt idx="251">
                  <c:v>23069</c:v>
                </c:pt>
                <c:pt idx="252">
                  <c:v>23071</c:v>
                </c:pt>
                <c:pt idx="253">
                  <c:v>23071</c:v>
                </c:pt>
                <c:pt idx="254">
                  <c:v>23072</c:v>
                </c:pt>
                <c:pt idx="255">
                  <c:v>23075</c:v>
                </c:pt>
                <c:pt idx="256">
                  <c:v>23076</c:v>
                </c:pt>
                <c:pt idx="257">
                  <c:v>23076</c:v>
                </c:pt>
                <c:pt idx="258">
                  <c:v>23079</c:v>
                </c:pt>
                <c:pt idx="259">
                  <c:v>23079</c:v>
                </c:pt>
                <c:pt idx="260">
                  <c:v>23081</c:v>
                </c:pt>
                <c:pt idx="261">
                  <c:v>23081</c:v>
                </c:pt>
                <c:pt idx="262">
                  <c:v>23081</c:v>
                </c:pt>
                <c:pt idx="263">
                  <c:v>23081</c:v>
                </c:pt>
                <c:pt idx="264">
                  <c:v>23081</c:v>
                </c:pt>
                <c:pt idx="265">
                  <c:v>23083</c:v>
                </c:pt>
                <c:pt idx="266">
                  <c:v>23083</c:v>
                </c:pt>
                <c:pt idx="267">
                  <c:v>23083</c:v>
                </c:pt>
                <c:pt idx="268">
                  <c:v>23083</c:v>
                </c:pt>
                <c:pt idx="269">
                  <c:v>23083</c:v>
                </c:pt>
                <c:pt idx="270">
                  <c:v>23083</c:v>
                </c:pt>
                <c:pt idx="271">
                  <c:v>23083</c:v>
                </c:pt>
                <c:pt idx="272">
                  <c:v>23083</c:v>
                </c:pt>
                <c:pt idx="273">
                  <c:v>23083</c:v>
                </c:pt>
                <c:pt idx="274">
                  <c:v>23086</c:v>
                </c:pt>
                <c:pt idx="275">
                  <c:v>23087</c:v>
                </c:pt>
                <c:pt idx="276">
                  <c:v>23087</c:v>
                </c:pt>
                <c:pt idx="277">
                  <c:v>23087</c:v>
                </c:pt>
                <c:pt idx="278">
                  <c:v>23087</c:v>
                </c:pt>
                <c:pt idx="279">
                  <c:v>23087</c:v>
                </c:pt>
                <c:pt idx="280">
                  <c:v>23087</c:v>
                </c:pt>
                <c:pt idx="281">
                  <c:v>23087</c:v>
                </c:pt>
                <c:pt idx="282">
                  <c:v>23087</c:v>
                </c:pt>
                <c:pt idx="283">
                  <c:v>23088</c:v>
                </c:pt>
                <c:pt idx="284">
                  <c:v>23088</c:v>
                </c:pt>
                <c:pt idx="285">
                  <c:v>23088</c:v>
                </c:pt>
                <c:pt idx="286">
                  <c:v>23088</c:v>
                </c:pt>
                <c:pt idx="287">
                  <c:v>23088</c:v>
                </c:pt>
                <c:pt idx="288">
                  <c:v>23088</c:v>
                </c:pt>
                <c:pt idx="289">
                  <c:v>23089</c:v>
                </c:pt>
                <c:pt idx="290">
                  <c:v>23089</c:v>
                </c:pt>
                <c:pt idx="291">
                  <c:v>23089</c:v>
                </c:pt>
                <c:pt idx="292">
                  <c:v>23089</c:v>
                </c:pt>
                <c:pt idx="293">
                  <c:v>23089</c:v>
                </c:pt>
                <c:pt idx="294">
                  <c:v>23089</c:v>
                </c:pt>
                <c:pt idx="295">
                  <c:v>23090</c:v>
                </c:pt>
                <c:pt idx="296">
                  <c:v>23091</c:v>
                </c:pt>
                <c:pt idx="297">
                  <c:v>23091</c:v>
                </c:pt>
                <c:pt idx="298">
                  <c:v>23091</c:v>
                </c:pt>
                <c:pt idx="299">
                  <c:v>23091</c:v>
                </c:pt>
                <c:pt idx="300">
                  <c:v>23091</c:v>
                </c:pt>
                <c:pt idx="301">
                  <c:v>23091</c:v>
                </c:pt>
                <c:pt idx="302">
                  <c:v>23091</c:v>
                </c:pt>
                <c:pt idx="303">
                  <c:v>23092</c:v>
                </c:pt>
                <c:pt idx="304">
                  <c:v>23092</c:v>
                </c:pt>
                <c:pt idx="305">
                  <c:v>23092</c:v>
                </c:pt>
                <c:pt idx="306">
                  <c:v>23093</c:v>
                </c:pt>
                <c:pt idx="307">
                  <c:v>23093</c:v>
                </c:pt>
                <c:pt idx="308">
                  <c:v>23093</c:v>
                </c:pt>
                <c:pt idx="309">
                  <c:v>23093</c:v>
                </c:pt>
                <c:pt idx="310">
                  <c:v>23094</c:v>
                </c:pt>
                <c:pt idx="311">
                  <c:v>23094</c:v>
                </c:pt>
                <c:pt idx="312">
                  <c:v>23094</c:v>
                </c:pt>
                <c:pt idx="313">
                  <c:v>23094</c:v>
                </c:pt>
                <c:pt idx="314">
                  <c:v>23094</c:v>
                </c:pt>
                <c:pt idx="315">
                  <c:v>23094</c:v>
                </c:pt>
                <c:pt idx="316">
                  <c:v>23094</c:v>
                </c:pt>
                <c:pt idx="317">
                  <c:v>23094</c:v>
                </c:pt>
                <c:pt idx="318">
                  <c:v>23094</c:v>
                </c:pt>
                <c:pt idx="319">
                  <c:v>23094</c:v>
                </c:pt>
                <c:pt idx="320">
                  <c:v>23094</c:v>
                </c:pt>
                <c:pt idx="321">
                  <c:v>23094</c:v>
                </c:pt>
                <c:pt idx="322">
                  <c:v>23094</c:v>
                </c:pt>
                <c:pt idx="323">
                  <c:v>23094</c:v>
                </c:pt>
                <c:pt idx="324">
                  <c:v>23094</c:v>
                </c:pt>
                <c:pt idx="325">
                  <c:v>23094</c:v>
                </c:pt>
                <c:pt idx="326">
                  <c:v>23094</c:v>
                </c:pt>
                <c:pt idx="327">
                  <c:v>23094</c:v>
                </c:pt>
                <c:pt idx="328">
                  <c:v>23094</c:v>
                </c:pt>
                <c:pt idx="329">
                  <c:v>23094</c:v>
                </c:pt>
                <c:pt idx="330">
                  <c:v>23094</c:v>
                </c:pt>
                <c:pt idx="331">
                  <c:v>23094</c:v>
                </c:pt>
                <c:pt idx="332">
                  <c:v>23094</c:v>
                </c:pt>
                <c:pt idx="333">
                  <c:v>23094</c:v>
                </c:pt>
                <c:pt idx="334">
                  <c:v>23094</c:v>
                </c:pt>
                <c:pt idx="335">
                  <c:v>23094</c:v>
                </c:pt>
                <c:pt idx="336">
                  <c:v>23094</c:v>
                </c:pt>
                <c:pt idx="337">
                  <c:v>23094</c:v>
                </c:pt>
                <c:pt idx="338">
                  <c:v>23094</c:v>
                </c:pt>
                <c:pt idx="339">
                  <c:v>23094</c:v>
                </c:pt>
                <c:pt idx="340">
                  <c:v>23094</c:v>
                </c:pt>
                <c:pt idx="341">
                  <c:v>23094</c:v>
                </c:pt>
                <c:pt idx="342">
                  <c:v>23094</c:v>
                </c:pt>
                <c:pt idx="343">
                  <c:v>23094</c:v>
                </c:pt>
                <c:pt idx="344">
                  <c:v>23094</c:v>
                </c:pt>
                <c:pt idx="345">
                  <c:v>23094</c:v>
                </c:pt>
                <c:pt idx="346">
                  <c:v>23094</c:v>
                </c:pt>
                <c:pt idx="347">
                  <c:v>23094</c:v>
                </c:pt>
                <c:pt idx="348">
                  <c:v>23094</c:v>
                </c:pt>
                <c:pt idx="349">
                  <c:v>23095</c:v>
                </c:pt>
                <c:pt idx="350">
                  <c:v>23096</c:v>
                </c:pt>
                <c:pt idx="351">
                  <c:v>23096</c:v>
                </c:pt>
                <c:pt idx="352">
                  <c:v>23097</c:v>
                </c:pt>
                <c:pt idx="353">
                  <c:v>23097</c:v>
                </c:pt>
                <c:pt idx="354">
                  <c:v>23097</c:v>
                </c:pt>
                <c:pt idx="355">
                  <c:v>23097</c:v>
                </c:pt>
                <c:pt idx="356">
                  <c:v>23099</c:v>
                </c:pt>
                <c:pt idx="357">
                  <c:v>23099</c:v>
                </c:pt>
                <c:pt idx="358">
                  <c:v>23099</c:v>
                </c:pt>
                <c:pt idx="359">
                  <c:v>23099</c:v>
                </c:pt>
                <c:pt idx="360">
                  <c:v>23099</c:v>
                </c:pt>
                <c:pt idx="361">
                  <c:v>23099</c:v>
                </c:pt>
                <c:pt idx="362">
                  <c:v>23099</c:v>
                </c:pt>
                <c:pt idx="363">
                  <c:v>23099</c:v>
                </c:pt>
                <c:pt idx="364">
                  <c:v>23099</c:v>
                </c:pt>
                <c:pt idx="365">
                  <c:v>23100</c:v>
                </c:pt>
                <c:pt idx="366">
                  <c:v>23104</c:v>
                </c:pt>
                <c:pt idx="367">
                  <c:v>23106</c:v>
                </c:pt>
                <c:pt idx="368">
                  <c:v>23107</c:v>
                </c:pt>
                <c:pt idx="369">
                  <c:v>23107</c:v>
                </c:pt>
                <c:pt idx="370">
                  <c:v>23111</c:v>
                </c:pt>
                <c:pt idx="371">
                  <c:v>23111</c:v>
                </c:pt>
                <c:pt idx="372">
                  <c:v>23111</c:v>
                </c:pt>
                <c:pt idx="373">
                  <c:v>23112</c:v>
                </c:pt>
                <c:pt idx="374">
                  <c:v>23112</c:v>
                </c:pt>
                <c:pt idx="375">
                  <c:v>23112</c:v>
                </c:pt>
                <c:pt idx="376">
                  <c:v>23112</c:v>
                </c:pt>
                <c:pt idx="377">
                  <c:v>23113</c:v>
                </c:pt>
                <c:pt idx="378">
                  <c:v>23113</c:v>
                </c:pt>
                <c:pt idx="379">
                  <c:v>23113</c:v>
                </c:pt>
                <c:pt idx="380">
                  <c:v>23113</c:v>
                </c:pt>
                <c:pt idx="381">
                  <c:v>23113</c:v>
                </c:pt>
                <c:pt idx="382">
                  <c:v>23113</c:v>
                </c:pt>
                <c:pt idx="383">
                  <c:v>23113</c:v>
                </c:pt>
                <c:pt idx="384">
                  <c:v>23114</c:v>
                </c:pt>
                <c:pt idx="385">
                  <c:v>23117</c:v>
                </c:pt>
                <c:pt idx="386">
                  <c:v>23118</c:v>
                </c:pt>
                <c:pt idx="387">
                  <c:v>23118</c:v>
                </c:pt>
                <c:pt idx="388">
                  <c:v>23118</c:v>
                </c:pt>
                <c:pt idx="389">
                  <c:v>23118</c:v>
                </c:pt>
                <c:pt idx="390">
                  <c:v>23118</c:v>
                </c:pt>
                <c:pt idx="391">
                  <c:v>23118</c:v>
                </c:pt>
                <c:pt idx="392">
                  <c:v>23118</c:v>
                </c:pt>
                <c:pt idx="393">
                  <c:v>23118</c:v>
                </c:pt>
                <c:pt idx="394">
                  <c:v>23118</c:v>
                </c:pt>
                <c:pt idx="395">
                  <c:v>23119</c:v>
                </c:pt>
                <c:pt idx="396">
                  <c:v>23120</c:v>
                </c:pt>
                <c:pt idx="397">
                  <c:v>23121</c:v>
                </c:pt>
                <c:pt idx="398">
                  <c:v>23121</c:v>
                </c:pt>
                <c:pt idx="399">
                  <c:v>23122</c:v>
                </c:pt>
                <c:pt idx="400">
                  <c:v>23129</c:v>
                </c:pt>
                <c:pt idx="401">
                  <c:v>23130</c:v>
                </c:pt>
                <c:pt idx="402">
                  <c:v>23133</c:v>
                </c:pt>
                <c:pt idx="403">
                  <c:v>23133</c:v>
                </c:pt>
                <c:pt idx="404">
                  <c:v>23133</c:v>
                </c:pt>
                <c:pt idx="405">
                  <c:v>23134</c:v>
                </c:pt>
                <c:pt idx="406">
                  <c:v>23134</c:v>
                </c:pt>
                <c:pt idx="407">
                  <c:v>23153</c:v>
                </c:pt>
                <c:pt idx="408">
                  <c:v>23153</c:v>
                </c:pt>
                <c:pt idx="409">
                  <c:v>23154</c:v>
                </c:pt>
                <c:pt idx="410">
                  <c:v>23154</c:v>
                </c:pt>
                <c:pt idx="411">
                  <c:v>23155</c:v>
                </c:pt>
                <c:pt idx="412">
                  <c:v>23157</c:v>
                </c:pt>
                <c:pt idx="413">
                  <c:v>23163</c:v>
                </c:pt>
                <c:pt idx="414">
                  <c:v>23164</c:v>
                </c:pt>
                <c:pt idx="415">
                  <c:v>231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417</c:f>
              <c:numCache>
                <c:formatCode>m/d/yyyy</c:formatCode>
                <c:ptCount val="4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</c:numCache>
            </c:numRef>
          </c:cat>
          <c:val>
            <c:numRef>
              <c:f>List1!$C$2:$C$417</c:f>
              <c:numCache>
                <c:formatCode>General</c:formatCode>
                <c:ptCount val="41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9</c:v>
                </c:pt>
                <c:pt idx="13">
                  <c:v>12</c:v>
                </c:pt>
                <c:pt idx="14">
                  <c:v>13</c:v>
                </c:pt>
                <c:pt idx="15">
                  <c:v>15</c:v>
                </c:pt>
                <c:pt idx="16">
                  <c:v>17</c:v>
                </c:pt>
                <c:pt idx="17">
                  <c:v>19</c:v>
                </c:pt>
                <c:pt idx="18">
                  <c:v>20</c:v>
                </c:pt>
                <c:pt idx="19">
                  <c:v>23</c:v>
                </c:pt>
                <c:pt idx="20">
                  <c:v>28</c:v>
                </c:pt>
                <c:pt idx="21">
                  <c:v>32</c:v>
                </c:pt>
                <c:pt idx="22">
                  <c:v>33</c:v>
                </c:pt>
                <c:pt idx="23">
                  <c:v>37</c:v>
                </c:pt>
                <c:pt idx="24">
                  <c:v>49</c:v>
                </c:pt>
                <c:pt idx="25">
                  <c:v>56</c:v>
                </c:pt>
                <c:pt idx="26">
                  <c:v>58</c:v>
                </c:pt>
                <c:pt idx="27">
                  <c:v>62</c:v>
                </c:pt>
                <c:pt idx="28">
                  <c:v>84</c:v>
                </c:pt>
                <c:pt idx="29">
                  <c:v>94</c:v>
                </c:pt>
                <c:pt idx="30">
                  <c:v>124</c:v>
                </c:pt>
                <c:pt idx="31">
                  <c:v>215</c:v>
                </c:pt>
                <c:pt idx="32">
                  <c:v>246</c:v>
                </c:pt>
                <c:pt idx="33">
                  <c:v>275</c:v>
                </c:pt>
                <c:pt idx="34">
                  <c:v>351</c:v>
                </c:pt>
                <c:pt idx="35">
                  <c:v>397</c:v>
                </c:pt>
                <c:pt idx="36">
                  <c:v>439</c:v>
                </c:pt>
                <c:pt idx="37">
                  <c:v>523</c:v>
                </c:pt>
                <c:pt idx="38">
                  <c:v>609</c:v>
                </c:pt>
                <c:pt idx="39">
                  <c:v>659</c:v>
                </c:pt>
                <c:pt idx="40">
                  <c:v>684</c:v>
                </c:pt>
                <c:pt idx="41">
                  <c:v>838</c:v>
                </c:pt>
                <c:pt idx="42">
                  <c:v>991</c:v>
                </c:pt>
                <c:pt idx="43">
                  <c:v>1181</c:v>
                </c:pt>
                <c:pt idx="44">
                  <c:v>1375</c:v>
                </c:pt>
                <c:pt idx="45">
                  <c:v>1585</c:v>
                </c:pt>
                <c:pt idx="46">
                  <c:v>1688</c:v>
                </c:pt>
                <c:pt idx="47">
                  <c:v>1736</c:v>
                </c:pt>
                <c:pt idx="48">
                  <c:v>1922</c:v>
                </c:pt>
                <c:pt idx="49">
                  <c:v>2114</c:v>
                </c:pt>
                <c:pt idx="50">
                  <c:v>2370</c:v>
                </c:pt>
                <c:pt idx="51">
                  <c:v>2604</c:v>
                </c:pt>
                <c:pt idx="52">
                  <c:v>2937</c:v>
                </c:pt>
                <c:pt idx="53">
                  <c:v>3124</c:v>
                </c:pt>
                <c:pt idx="54">
                  <c:v>3214</c:v>
                </c:pt>
                <c:pt idx="55">
                  <c:v>3584</c:v>
                </c:pt>
                <c:pt idx="56">
                  <c:v>3977</c:v>
                </c:pt>
                <c:pt idx="57">
                  <c:v>4110</c:v>
                </c:pt>
                <c:pt idx="58">
                  <c:v>4578</c:v>
                </c:pt>
                <c:pt idx="59">
                  <c:v>4909</c:v>
                </c:pt>
                <c:pt idx="60">
                  <c:v>5089</c:v>
                </c:pt>
                <c:pt idx="61">
                  <c:v>5204</c:v>
                </c:pt>
                <c:pt idx="62">
                  <c:v>5496</c:v>
                </c:pt>
                <c:pt idx="63">
                  <c:v>5725</c:v>
                </c:pt>
                <c:pt idx="64">
                  <c:v>6050</c:v>
                </c:pt>
                <c:pt idx="65">
                  <c:v>6328</c:v>
                </c:pt>
                <c:pt idx="66">
                  <c:v>6567</c:v>
                </c:pt>
                <c:pt idx="67">
                  <c:v>6683</c:v>
                </c:pt>
                <c:pt idx="68">
                  <c:v>6729</c:v>
                </c:pt>
                <c:pt idx="69">
                  <c:v>6923</c:v>
                </c:pt>
                <c:pt idx="70">
                  <c:v>7124</c:v>
                </c:pt>
                <c:pt idx="71">
                  <c:v>7383</c:v>
                </c:pt>
                <c:pt idx="72">
                  <c:v>7611</c:v>
                </c:pt>
                <c:pt idx="73">
                  <c:v>7814</c:v>
                </c:pt>
                <c:pt idx="74">
                  <c:v>7886</c:v>
                </c:pt>
                <c:pt idx="75">
                  <c:v>7916</c:v>
                </c:pt>
                <c:pt idx="76">
                  <c:v>8091</c:v>
                </c:pt>
                <c:pt idx="77">
                  <c:v>8137</c:v>
                </c:pt>
                <c:pt idx="78">
                  <c:v>8298</c:v>
                </c:pt>
                <c:pt idx="79">
                  <c:v>8423</c:v>
                </c:pt>
                <c:pt idx="80">
                  <c:v>8543</c:v>
                </c:pt>
                <c:pt idx="81">
                  <c:v>8578</c:v>
                </c:pt>
                <c:pt idx="82">
                  <c:v>8595</c:v>
                </c:pt>
                <c:pt idx="83">
                  <c:v>8735</c:v>
                </c:pt>
                <c:pt idx="84">
                  <c:v>8840</c:v>
                </c:pt>
                <c:pt idx="85">
                  <c:v>8932</c:v>
                </c:pt>
                <c:pt idx="86">
                  <c:v>8985</c:v>
                </c:pt>
                <c:pt idx="87">
                  <c:v>9066</c:v>
                </c:pt>
                <c:pt idx="88">
                  <c:v>9089</c:v>
                </c:pt>
                <c:pt idx="89">
                  <c:v>9104</c:v>
                </c:pt>
                <c:pt idx="90">
                  <c:v>9212</c:v>
                </c:pt>
                <c:pt idx="91">
                  <c:v>9297</c:v>
                </c:pt>
                <c:pt idx="92">
                  <c:v>9363</c:v>
                </c:pt>
                <c:pt idx="93">
                  <c:v>9418</c:v>
                </c:pt>
                <c:pt idx="94">
                  <c:v>9508</c:v>
                </c:pt>
                <c:pt idx="95">
                  <c:v>9547</c:v>
                </c:pt>
                <c:pt idx="96">
                  <c:v>9571</c:v>
                </c:pt>
                <c:pt idx="97">
                  <c:v>9692</c:v>
                </c:pt>
                <c:pt idx="98">
                  <c:v>9767</c:v>
                </c:pt>
                <c:pt idx="99">
                  <c:v>9829</c:v>
                </c:pt>
                <c:pt idx="100">
                  <c:v>9889</c:v>
                </c:pt>
                <c:pt idx="101">
                  <c:v>9967</c:v>
                </c:pt>
                <c:pt idx="102">
                  <c:v>9988</c:v>
                </c:pt>
                <c:pt idx="103">
                  <c:v>10003</c:v>
                </c:pt>
                <c:pt idx="104">
                  <c:v>10133</c:v>
                </c:pt>
                <c:pt idx="105">
                  <c:v>10204</c:v>
                </c:pt>
                <c:pt idx="106">
                  <c:v>10298</c:v>
                </c:pt>
                <c:pt idx="107">
                  <c:v>10348</c:v>
                </c:pt>
                <c:pt idx="108">
                  <c:v>10422</c:v>
                </c:pt>
                <c:pt idx="109">
                  <c:v>10449</c:v>
                </c:pt>
                <c:pt idx="110">
                  <c:v>10476</c:v>
                </c:pt>
                <c:pt idx="111">
                  <c:v>10633</c:v>
                </c:pt>
                <c:pt idx="112">
                  <c:v>10742</c:v>
                </c:pt>
                <c:pt idx="113">
                  <c:v>10857</c:v>
                </c:pt>
                <c:pt idx="114">
                  <c:v>10884</c:v>
                </c:pt>
                <c:pt idx="115">
                  <c:v>10928</c:v>
                </c:pt>
                <c:pt idx="116">
                  <c:v>10977</c:v>
                </c:pt>
                <c:pt idx="117">
                  <c:v>11022</c:v>
                </c:pt>
                <c:pt idx="118">
                  <c:v>11211</c:v>
                </c:pt>
                <c:pt idx="119">
                  <c:v>11355</c:v>
                </c:pt>
                <c:pt idx="120">
                  <c:v>11463</c:v>
                </c:pt>
                <c:pt idx="121">
                  <c:v>11547</c:v>
                </c:pt>
                <c:pt idx="122">
                  <c:v>11575</c:v>
                </c:pt>
                <c:pt idx="123">
                  <c:v>11632</c:v>
                </c:pt>
                <c:pt idx="124">
                  <c:v>11666</c:v>
                </c:pt>
                <c:pt idx="125">
                  <c:v>11929</c:v>
                </c:pt>
                <c:pt idx="126">
                  <c:v>12072</c:v>
                </c:pt>
                <c:pt idx="127">
                  <c:v>12183</c:v>
                </c:pt>
                <c:pt idx="128">
                  <c:v>12280</c:v>
                </c:pt>
                <c:pt idx="129">
                  <c:v>12400</c:v>
                </c:pt>
                <c:pt idx="130">
                  <c:v>12448</c:v>
                </c:pt>
                <c:pt idx="131">
                  <c:v>12472</c:v>
                </c:pt>
                <c:pt idx="132">
                  <c:v>12698</c:v>
                </c:pt>
                <c:pt idx="133">
                  <c:v>12793</c:v>
                </c:pt>
                <c:pt idx="134">
                  <c:v>12899</c:v>
                </c:pt>
                <c:pt idx="135">
                  <c:v>12952</c:v>
                </c:pt>
                <c:pt idx="136">
                  <c:v>13015</c:v>
                </c:pt>
                <c:pt idx="137">
                  <c:v>13046</c:v>
                </c:pt>
                <c:pt idx="138">
                  <c:v>13072</c:v>
                </c:pt>
                <c:pt idx="139">
                  <c:v>13194</c:v>
                </c:pt>
                <c:pt idx="140">
                  <c:v>13268</c:v>
                </c:pt>
                <c:pt idx="141">
                  <c:v>13339</c:v>
                </c:pt>
                <c:pt idx="142">
                  <c:v>13397</c:v>
                </c:pt>
                <c:pt idx="143">
                  <c:v>13475</c:v>
                </c:pt>
                <c:pt idx="144">
                  <c:v>13501</c:v>
                </c:pt>
                <c:pt idx="145">
                  <c:v>13512</c:v>
                </c:pt>
                <c:pt idx="146">
                  <c:v>13601</c:v>
                </c:pt>
                <c:pt idx="147">
                  <c:v>13677</c:v>
                </c:pt>
                <c:pt idx="148">
                  <c:v>13734</c:v>
                </c:pt>
                <c:pt idx="149">
                  <c:v>13766</c:v>
                </c:pt>
                <c:pt idx="150">
                  <c:v>13811</c:v>
                </c:pt>
                <c:pt idx="151">
                  <c:v>13840</c:v>
                </c:pt>
                <c:pt idx="152">
                  <c:v>13849</c:v>
                </c:pt>
                <c:pt idx="153">
                  <c:v>13927</c:v>
                </c:pt>
                <c:pt idx="154">
                  <c:v>13994</c:v>
                </c:pt>
                <c:pt idx="155">
                  <c:v>14048</c:v>
                </c:pt>
                <c:pt idx="156">
                  <c:v>14089</c:v>
                </c:pt>
                <c:pt idx="157">
                  <c:v>14135</c:v>
                </c:pt>
                <c:pt idx="158">
                  <c:v>14145</c:v>
                </c:pt>
                <c:pt idx="159">
                  <c:v>14162</c:v>
                </c:pt>
                <c:pt idx="160">
                  <c:v>14230</c:v>
                </c:pt>
                <c:pt idx="161">
                  <c:v>14251</c:v>
                </c:pt>
                <c:pt idx="162">
                  <c:v>14284</c:v>
                </c:pt>
                <c:pt idx="163">
                  <c:v>14322</c:v>
                </c:pt>
                <c:pt idx="164">
                  <c:v>14361</c:v>
                </c:pt>
                <c:pt idx="165">
                  <c:v>14376</c:v>
                </c:pt>
                <c:pt idx="166">
                  <c:v>14385</c:v>
                </c:pt>
                <c:pt idx="167">
                  <c:v>14447</c:v>
                </c:pt>
                <c:pt idx="168">
                  <c:v>14479</c:v>
                </c:pt>
                <c:pt idx="169">
                  <c:v>14515</c:v>
                </c:pt>
                <c:pt idx="170">
                  <c:v>14543</c:v>
                </c:pt>
                <c:pt idx="171">
                  <c:v>14576</c:v>
                </c:pt>
                <c:pt idx="172">
                  <c:v>14582</c:v>
                </c:pt>
                <c:pt idx="173">
                  <c:v>14600</c:v>
                </c:pt>
                <c:pt idx="174">
                  <c:v>14670</c:v>
                </c:pt>
                <c:pt idx="175">
                  <c:v>14714</c:v>
                </c:pt>
                <c:pt idx="176">
                  <c:v>14748</c:v>
                </c:pt>
                <c:pt idx="177">
                  <c:v>14779</c:v>
                </c:pt>
                <c:pt idx="178">
                  <c:v>14817</c:v>
                </c:pt>
                <c:pt idx="179">
                  <c:v>14826</c:v>
                </c:pt>
                <c:pt idx="180">
                  <c:v>14835</c:v>
                </c:pt>
                <c:pt idx="181">
                  <c:v>14890</c:v>
                </c:pt>
                <c:pt idx="182">
                  <c:v>14928</c:v>
                </c:pt>
                <c:pt idx="183">
                  <c:v>14983</c:v>
                </c:pt>
                <c:pt idx="184">
                  <c:v>15016</c:v>
                </c:pt>
                <c:pt idx="185">
                  <c:v>15044</c:v>
                </c:pt>
                <c:pt idx="186">
                  <c:v>15057</c:v>
                </c:pt>
                <c:pt idx="187">
                  <c:v>15066</c:v>
                </c:pt>
                <c:pt idx="188">
                  <c:v>15125</c:v>
                </c:pt>
                <c:pt idx="189">
                  <c:v>15162</c:v>
                </c:pt>
                <c:pt idx="190">
                  <c:v>15191</c:v>
                </c:pt>
                <c:pt idx="191">
                  <c:v>15216</c:v>
                </c:pt>
                <c:pt idx="192">
                  <c:v>15234</c:v>
                </c:pt>
                <c:pt idx="193">
                  <c:v>15245</c:v>
                </c:pt>
                <c:pt idx="194">
                  <c:v>15252</c:v>
                </c:pt>
                <c:pt idx="195">
                  <c:v>15287</c:v>
                </c:pt>
                <c:pt idx="196">
                  <c:v>15310</c:v>
                </c:pt>
                <c:pt idx="197">
                  <c:v>15333</c:v>
                </c:pt>
                <c:pt idx="198">
                  <c:v>15349</c:v>
                </c:pt>
                <c:pt idx="199">
                  <c:v>15369</c:v>
                </c:pt>
                <c:pt idx="200">
                  <c:v>15370</c:v>
                </c:pt>
                <c:pt idx="201">
                  <c:v>15374</c:v>
                </c:pt>
                <c:pt idx="202">
                  <c:v>15401</c:v>
                </c:pt>
                <c:pt idx="203">
                  <c:v>15419</c:v>
                </c:pt>
                <c:pt idx="204">
                  <c:v>15429</c:v>
                </c:pt>
                <c:pt idx="205">
                  <c:v>15437</c:v>
                </c:pt>
                <c:pt idx="206">
                  <c:v>15453</c:v>
                </c:pt>
                <c:pt idx="207">
                  <c:v>15456</c:v>
                </c:pt>
                <c:pt idx="208">
                  <c:v>15457</c:v>
                </c:pt>
                <c:pt idx="209">
                  <c:v>15475</c:v>
                </c:pt>
                <c:pt idx="210">
                  <c:v>15488</c:v>
                </c:pt>
                <c:pt idx="211">
                  <c:v>15501</c:v>
                </c:pt>
                <c:pt idx="212">
                  <c:v>15512</c:v>
                </c:pt>
                <c:pt idx="213">
                  <c:v>15515</c:v>
                </c:pt>
                <c:pt idx="214">
                  <c:v>15518</c:v>
                </c:pt>
                <c:pt idx="215">
                  <c:v>15520</c:v>
                </c:pt>
                <c:pt idx="216">
                  <c:v>15524</c:v>
                </c:pt>
                <c:pt idx="217">
                  <c:v>15544</c:v>
                </c:pt>
                <c:pt idx="218">
                  <c:v>15559</c:v>
                </c:pt>
                <c:pt idx="219">
                  <c:v>15575</c:v>
                </c:pt>
                <c:pt idx="220">
                  <c:v>15583</c:v>
                </c:pt>
                <c:pt idx="221">
                  <c:v>15587</c:v>
                </c:pt>
                <c:pt idx="222">
                  <c:v>15588</c:v>
                </c:pt>
                <c:pt idx="223">
                  <c:v>15596</c:v>
                </c:pt>
                <c:pt idx="224">
                  <c:v>15602</c:v>
                </c:pt>
                <c:pt idx="225">
                  <c:v>15606</c:v>
                </c:pt>
                <c:pt idx="226">
                  <c:v>15611</c:v>
                </c:pt>
                <c:pt idx="227">
                  <c:v>15617</c:v>
                </c:pt>
                <c:pt idx="228">
                  <c:v>15618</c:v>
                </c:pt>
                <c:pt idx="229">
                  <c:v>15619</c:v>
                </c:pt>
                <c:pt idx="230">
                  <c:v>15629</c:v>
                </c:pt>
                <c:pt idx="231">
                  <c:v>15632</c:v>
                </c:pt>
                <c:pt idx="232">
                  <c:v>15635</c:v>
                </c:pt>
                <c:pt idx="233">
                  <c:v>15639</c:v>
                </c:pt>
                <c:pt idx="234">
                  <c:v>15642</c:v>
                </c:pt>
                <c:pt idx="235">
                  <c:v>15643</c:v>
                </c:pt>
                <c:pt idx="236">
                  <c:v>15643</c:v>
                </c:pt>
                <c:pt idx="237">
                  <c:v>15648</c:v>
                </c:pt>
                <c:pt idx="238">
                  <c:v>15653</c:v>
                </c:pt>
                <c:pt idx="239">
                  <c:v>15654</c:v>
                </c:pt>
                <c:pt idx="240">
                  <c:v>15656</c:v>
                </c:pt>
                <c:pt idx="241">
                  <c:v>15660</c:v>
                </c:pt>
                <c:pt idx="242">
                  <c:v>15660</c:v>
                </c:pt>
                <c:pt idx="243">
                  <c:v>15661</c:v>
                </c:pt>
                <c:pt idx="244">
                  <c:v>15663</c:v>
                </c:pt>
                <c:pt idx="245">
                  <c:v>15665</c:v>
                </c:pt>
                <c:pt idx="246">
                  <c:v>15666</c:v>
                </c:pt>
                <c:pt idx="247">
                  <c:v>15670</c:v>
                </c:pt>
                <c:pt idx="248">
                  <c:v>15672</c:v>
                </c:pt>
                <c:pt idx="249">
                  <c:v>15673</c:v>
                </c:pt>
                <c:pt idx="250">
                  <c:v>15673</c:v>
                </c:pt>
                <c:pt idx="251">
                  <c:v>15674</c:v>
                </c:pt>
                <c:pt idx="252">
                  <c:v>15678</c:v>
                </c:pt>
                <c:pt idx="253">
                  <c:v>15678</c:v>
                </c:pt>
                <c:pt idx="254">
                  <c:v>15680</c:v>
                </c:pt>
                <c:pt idx="255">
                  <c:v>15681</c:v>
                </c:pt>
                <c:pt idx="256">
                  <c:v>15681</c:v>
                </c:pt>
                <c:pt idx="257">
                  <c:v>15681</c:v>
                </c:pt>
                <c:pt idx="258">
                  <c:v>15685</c:v>
                </c:pt>
                <c:pt idx="259">
                  <c:v>15689</c:v>
                </c:pt>
                <c:pt idx="260">
                  <c:v>15690</c:v>
                </c:pt>
                <c:pt idx="261">
                  <c:v>15693</c:v>
                </c:pt>
                <c:pt idx="262">
                  <c:v>15693</c:v>
                </c:pt>
                <c:pt idx="263">
                  <c:v>15693</c:v>
                </c:pt>
                <c:pt idx="264">
                  <c:v>15693</c:v>
                </c:pt>
                <c:pt idx="265">
                  <c:v>15694</c:v>
                </c:pt>
                <c:pt idx="266">
                  <c:v>15695</c:v>
                </c:pt>
                <c:pt idx="267">
                  <c:v>15696</c:v>
                </c:pt>
                <c:pt idx="268">
                  <c:v>15696</c:v>
                </c:pt>
                <c:pt idx="269">
                  <c:v>15696</c:v>
                </c:pt>
                <c:pt idx="270">
                  <c:v>15696</c:v>
                </c:pt>
                <c:pt idx="271">
                  <c:v>15696</c:v>
                </c:pt>
                <c:pt idx="272">
                  <c:v>15696</c:v>
                </c:pt>
                <c:pt idx="273">
                  <c:v>15696</c:v>
                </c:pt>
                <c:pt idx="274">
                  <c:v>15696</c:v>
                </c:pt>
                <c:pt idx="275">
                  <c:v>15697</c:v>
                </c:pt>
                <c:pt idx="276">
                  <c:v>15697</c:v>
                </c:pt>
                <c:pt idx="277">
                  <c:v>15697</c:v>
                </c:pt>
                <c:pt idx="278">
                  <c:v>15697</c:v>
                </c:pt>
                <c:pt idx="279">
                  <c:v>15697</c:v>
                </c:pt>
                <c:pt idx="280">
                  <c:v>15697</c:v>
                </c:pt>
                <c:pt idx="281">
                  <c:v>15697</c:v>
                </c:pt>
                <c:pt idx="282">
                  <c:v>15697</c:v>
                </c:pt>
                <c:pt idx="283">
                  <c:v>15697</c:v>
                </c:pt>
                <c:pt idx="284">
                  <c:v>15697</c:v>
                </c:pt>
                <c:pt idx="285">
                  <c:v>15697</c:v>
                </c:pt>
                <c:pt idx="286">
                  <c:v>15697</c:v>
                </c:pt>
                <c:pt idx="287">
                  <c:v>15697</c:v>
                </c:pt>
                <c:pt idx="288">
                  <c:v>15697</c:v>
                </c:pt>
                <c:pt idx="289">
                  <c:v>15697</c:v>
                </c:pt>
                <c:pt idx="290">
                  <c:v>15697</c:v>
                </c:pt>
                <c:pt idx="291">
                  <c:v>15697</c:v>
                </c:pt>
                <c:pt idx="292">
                  <c:v>15697</c:v>
                </c:pt>
                <c:pt idx="293">
                  <c:v>15697</c:v>
                </c:pt>
                <c:pt idx="294">
                  <c:v>15697</c:v>
                </c:pt>
                <c:pt idx="295">
                  <c:v>15697</c:v>
                </c:pt>
                <c:pt idx="296">
                  <c:v>15697</c:v>
                </c:pt>
                <c:pt idx="297">
                  <c:v>15697</c:v>
                </c:pt>
                <c:pt idx="298">
                  <c:v>15697</c:v>
                </c:pt>
                <c:pt idx="299">
                  <c:v>15697</c:v>
                </c:pt>
                <c:pt idx="300">
                  <c:v>15697</c:v>
                </c:pt>
                <c:pt idx="301">
                  <c:v>15697</c:v>
                </c:pt>
                <c:pt idx="302">
                  <c:v>15698</c:v>
                </c:pt>
                <c:pt idx="303">
                  <c:v>15698</c:v>
                </c:pt>
                <c:pt idx="304">
                  <c:v>15698</c:v>
                </c:pt>
                <c:pt idx="305">
                  <c:v>15698</c:v>
                </c:pt>
                <c:pt idx="306">
                  <c:v>15698</c:v>
                </c:pt>
                <c:pt idx="307">
                  <c:v>15698</c:v>
                </c:pt>
                <c:pt idx="308">
                  <c:v>15698</c:v>
                </c:pt>
                <c:pt idx="309">
                  <c:v>15698</c:v>
                </c:pt>
                <c:pt idx="310">
                  <c:v>15698</c:v>
                </c:pt>
                <c:pt idx="311">
                  <c:v>15698</c:v>
                </c:pt>
                <c:pt idx="312">
                  <c:v>15698</c:v>
                </c:pt>
                <c:pt idx="313">
                  <c:v>15699</c:v>
                </c:pt>
                <c:pt idx="314">
                  <c:v>15699</c:v>
                </c:pt>
                <c:pt idx="315">
                  <c:v>15699</c:v>
                </c:pt>
                <c:pt idx="316">
                  <c:v>15699</c:v>
                </c:pt>
                <c:pt idx="317">
                  <c:v>15699</c:v>
                </c:pt>
                <c:pt idx="318">
                  <c:v>15699</c:v>
                </c:pt>
                <c:pt idx="319">
                  <c:v>15699</c:v>
                </c:pt>
                <c:pt idx="320">
                  <c:v>15699</c:v>
                </c:pt>
                <c:pt idx="321">
                  <c:v>15699</c:v>
                </c:pt>
                <c:pt idx="322">
                  <c:v>15699</c:v>
                </c:pt>
                <c:pt idx="323">
                  <c:v>15700</c:v>
                </c:pt>
                <c:pt idx="324">
                  <c:v>15700</c:v>
                </c:pt>
                <c:pt idx="325">
                  <c:v>15700</c:v>
                </c:pt>
                <c:pt idx="326">
                  <c:v>15700</c:v>
                </c:pt>
                <c:pt idx="327">
                  <c:v>15700</c:v>
                </c:pt>
                <c:pt idx="328">
                  <c:v>15700</c:v>
                </c:pt>
                <c:pt idx="329">
                  <c:v>15700</c:v>
                </c:pt>
                <c:pt idx="330">
                  <c:v>15702</c:v>
                </c:pt>
                <c:pt idx="331">
                  <c:v>15702</c:v>
                </c:pt>
                <c:pt idx="332">
                  <c:v>15702</c:v>
                </c:pt>
                <c:pt idx="333">
                  <c:v>15702</c:v>
                </c:pt>
                <c:pt idx="334">
                  <c:v>15702</c:v>
                </c:pt>
                <c:pt idx="335">
                  <c:v>15702</c:v>
                </c:pt>
                <c:pt idx="336">
                  <c:v>15702</c:v>
                </c:pt>
                <c:pt idx="337">
                  <c:v>15702</c:v>
                </c:pt>
                <c:pt idx="338">
                  <c:v>15702</c:v>
                </c:pt>
                <c:pt idx="339">
                  <c:v>15702</c:v>
                </c:pt>
                <c:pt idx="340">
                  <c:v>15702</c:v>
                </c:pt>
                <c:pt idx="341">
                  <c:v>15703</c:v>
                </c:pt>
                <c:pt idx="342">
                  <c:v>15703</c:v>
                </c:pt>
                <c:pt idx="343">
                  <c:v>15703</c:v>
                </c:pt>
                <c:pt idx="344">
                  <c:v>15704</c:v>
                </c:pt>
                <c:pt idx="345">
                  <c:v>15704</c:v>
                </c:pt>
                <c:pt idx="346">
                  <c:v>15704</c:v>
                </c:pt>
                <c:pt idx="347">
                  <c:v>15704</c:v>
                </c:pt>
                <c:pt idx="348">
                  <c:v>15704</c:v>
                </c:pt>
                <c:pt idx="349">
                  <c:v>15704</c:v>
                </c:pt>
                <c:pt idx="350">
                  <c:v>15704</c:v>
                </c:pt>
                <c:pt idx="351">
                  <c:v>15704</c:v>
                </c:pt>
                <c:pt idx="352">
                  <c:v>15704</c:v>
                </c:pt>
                <c:pt idx="353">
                  <c:v>15704</c:v>
                </c:pt>
                <c:pt idx="354">
                  <c:v>15704</c:v>
                </c:pt>
                <c:pt idx="355">
                  <c:v>15704</c:v>
                </c:pt>
                <c:pt idx="356">
                  <c:v>15705</c:v>
                </c:pt>
                <c:pt idx="357">
                  <c:v>15705</c:v>
                </c:pt>
                <c:pt idx="358">
                  <c:v>15705</c:v>
                </c:pt>
                <c:pt idx="359">
                  <c:v>15706</c:v>
                </c:pt>
                <c:pt idx="360">
                  <c:v>15707</c:v>
                </c:pt>
                <c:pt idx="361">
                  <c:v>15708</c:v>
                </c:pt>
                <c:pt idx="362">
                  <c:v>15708</c:v>
                </c:pt>
                <c:pt idx="363">
                  <c:v>15708</c:v>
                </c:pt>
                <c:pt idx="364">
                  <c:v>15708</c:v>
                </c:pt>
                <c:pt idx="365">
                  <c:v>15710</c:v>
                </c:pt>
                <c:pt idx="366">
                  <c:v>15711</c:v>
                </c:pt>
                <c:pt idx="367">
                  <c:v>15712</c:v>
                </c:pt>
                <c:pt idx="368">
                  <c:v>15712</c:v>
                </c:pt>
                <c:pt idx="369">
                  <c:v>15712</c:v>
                </c:pt>
                <c:pt idx="370">
                  <c:v>15713</c:v>
                </c:pt>
                <c:pt idx="371">
                  <c:v>15715</c:v>
                </c:pt>
                <c:pt idx="372">
                  <c:v>15716</c:v>
                </c:pt>
                <c:pt idx="373">
                  <c:v>15717</c:v>
                </c:pt>
                <c:pt idx="374">
                  <c:v>15717</c:v>
                </c:pt>
                <c:pt idx="375">
                  <c:v>15717</c:v>
                </c:pt>
                <c:pt idx="376">
                  <c:v>15717</c:v>
                </c:pt>
                <c:pt idx="377">
                  <c:v>15717</c:v>
                </c:pt>
                <c:pt idx="378">
                  <c:v>15718</c:v>
                </c:pt>
                <c:pt idx="379">
                  <c:v>15718</c:v>
                </c:pt>
                <c:pt idx="380">
                  <c:v>15718</c:v>
                </c:pt>
                <c:pt idx="381">
                  <c:v>15718</c:v>
                </c:pt>
                <c:pt idx="382">
                  <c:v>15719</c:v>
                </c:pt>
                <c:pt idx="383">
                  <c:v>15719</c:v>
                </c:pt>
                <c:pt idx="384">
                  <c:v>15723</c:v>
                </c:pt>
                <c:pt idx="385">
                  <c:v>15726</c:v>
                </c:pt>
                <c:pt idx="386">
                  <c:v>15728</c:v>
                </c:pt>
                <c:pt idx="387">
                  <c:v>15728</c:v>
                </c:pt>
                <c:pt idx="388">
                  <c:v>15728</c:v>
                </c:pt>
                <c:pt idx="389">
                  <c:v>15729</c:v>
                </c:pt>
                <c:pt idx="390">
                  <c:v>15729</c:v>
                </c:pt>
                <c:pt idx="391">
                  <c:v>15734</c:v>
                </c:pt>
                <c:pt idx="392">
                  <c:v>15736</c:v>
                </c:pt>
                <c:pt idx="393">
                  <c:v>15742</c:v>
                </c:pt>
                <c:pt idx="394">
                  <c:v>15744</c:v>
                </c:pt>
                <c:pt idx="395">
                  <c:v>15746</c:v>
                </c:pt>
                <c:pt idx="396">
                  <c:v>15746</c:v>
                </c:pt>
                <c:pt idx="397">
                  <c:v>15746</c:v>
                </c:pt>
                <c:pt idx="398">
                  <c:v>15748</c:v>
                </c:pt>
                <c:pt idx="399">
                  <c:v>15750</c:v>
                </c:pt>
                <c:pt idx="400">
                  <c:v>15752</c:v>
                </c:pt>
                <c:pt idx="401">
                  <c:v>15753</c:v>
                </c:pt>
                <c:pt idx="402">
                  <c:v>15756</c:v>
                </c:pt>
                <c:pt idx="403">
                  <c:v>15757</c:v>
                </c:pt>
                <c:pt idx="404">
                  <c:v>15757</c:v>
                </c:pt>
                <c:pt idx="405">
                  <c:v>15760</c:v>
                </c:pt>
                <c:pt idx="406">
                  <c:v>15763</c:v>
                </c:pt>
                <c:pt idx="407">
                  <c:v>15764</c:v>
                </c:pt>
                <c:pt idx="408">
                  <c:v>15767</c:v>
                </c:pt>
                <c:pt idx="409">
                  <c:v>15770</c:v>
                </c:pt>
                <c:pt idx="410">
                  <c:v>15773</c:v>
                </c:pt>
                <c:pt idx="411">
                  <c:v>15773</c:v>
                </c:pt>
                <c:pt idx="412">
                  <c:v>15781</c:v>
                </c:pt>
                <c:pt idx="413">
                  <c:v>15786</c:v>
                </c:pt>
                <c:pt idx="414">
                  <c:v>15794</c:v>
                </c:pt>
                <c:pt idx="415">
                  <c:v>15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417</c:f>
              <c:numCache>
                <c:formatCode>m/d/yyyy</c:formatCode>
                <c:ptCount val="4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</c:numCache>
            </c:numRef>
          </c:cat>
          <c:val>
            <c:numRef>
              <c:f>List1!$D$2:$D$417</c:f>
              <c:numCache>
                <c:formatCode>General</c:formatCode>
                <c:ptCount val="416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1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20</c:v>
                </c:pt>
                <c:pt idx="12">
                  <c:v>21</c:v>
                </c:pt>
                <c:pt idx="13">
                  <c:v>24</c:v>
                </c:pt>
                <c:pt idx="14">
                  <c:v>25</c:v>
                </c:pt>
                <c:pt idx="15">
                  <c:v>27</c:v>
                </c:pt>
                <c:pt idx="16">
                  <c:v>29</c:v>
                </c:pt>
                <c:pt idx="17">
                  <c:v>33</c:v>
                </c:pt>
                <c:pt idx="18">
                  <c:v>35</c:v>
                </c:pt>
                <c:pt idx="19">
                  <c:v>41</c:v>
                </c:pt>
                <c:pt idx="20">
                  <c:v>47</c:v>
                </c:pt>
                <c:pt idx="21">
                  <c:v>51</c:v>
                </c:pt>
                <c:pt idx="22">
                  <c:v>53</c:v>
                </c:pt>
                <c:pt idx="23">
                  <c:v>60</c:v>
                </c:pt>
                <c:pt idx="24">
                  <c:v>73</c:v>
                </c:pt>
                <c:pt idx="25">
                  <c:v>85</c:v>
                </c:pt>
                <c:pt idx="26">
                  <c:v>92</c:v>
                </c:pt>
                <c:pt idx="27">
                  <c:v>99</c:v>
                </c:pt>
                <c:pt idx="28">
                  <c:v>126</c:v>
                </c:pt>
                <c:pt idx="29">
                  <c:v>164</c:v>
                </c:pt>
                <c:pt idx="30">
                  <c:v>224</c:v>
                </c:pt>
                <c:pt idx="31">
                  <c:v>375</c:v>
                </c:pt>
                <c:pt idx="32">
                  <c:v>442</c:v>
                </c:pt>
                <c:pt idx="33">
                  <c:v>525</c:v>
                </c:pt>
                <c:pt idx="34">
                  <c:v>738</c:v>
                </c:pt>
                <c:pt idx="35">
                  <c:v>866</c:v>
                </c:pt>
                <c:pt idx="36">
                  <c:v>953</c:v>
                </c:pt>
                <c:pt idx="37">
                  <c:v>1115</c:v>
                </c:pt>
                <c:pt idx="38">
                  <c:v>1340</c:v>
                </c:pt>
                <c:pt idx="39">
                  <c:v>1420</c:v>
                </c:pt>
                <c:pt idx="40">
                  <c:v>1456</c:v>
                </c:pt>
                <c:pt idx="41">
                  <c:v>1748</c:v>
                </c:pt>
                <c:pt idx="42">
                  <c:v>2123</c:v>
                </c:pt>
                <c:pt idx="43">
                  <c:v>2494</c:v>
                </c:pt>
                <c:pt idx="44">
                  <c:v>2878</c:v>
                </c:pt>
                <c:pt idx="45">
                  <c:v>3292</c:v>
                </c:pt>
                <c:pt idx="46">
                  <c:v>3550</c:v>
                </c:pt>
                <c:pt idx="47">
                  <c:v>3639</c:v>
                </c:pt>
                <c:pt idx="48">
                  <c:v>4067</c:v>
                </c:pt>
                <c:pt idx="49">
                  <c:v>4455</c:v>
                </c:pt>
                <c:pt idx="50">
                  <c:v>5037</c:v>
                </c:pt>
                <c:pt idx="51">
                  <c:v>5497</c:v>
                </c:pt>
                <c:pt idx="52">
                  <c:v>6245</c:v>
                </c:pt>
                <c:pt idx="53">
                  <c:v>6659</c:v>
                </c:pt>
                <c:pt idx="54">
                  <c:v>6943</c:v>
                </c:pt>
                <c:pt idx="55">
                  <c:v>7700</c:v>
                </c:pt>
                <c:pt idx="56">
                  <c:v>8614</c:v>
                </c:pt>
                <c:pt idx="57">
                  <c:v>9007</c:v>
                </c:pt>
                <c:pt idx="58">
                  <c:v>10010</c:v>
                </c:pt>
                <c:pt idx="59">
                  <c:v>10928</c:v>
                </c:pt>
                <c:pt idx="60">
                  <c:v>11444</c:v>
                </c:pt>
                <c:pt idx="61">
                  <c:v>11771</c:v>
                </c:pt>
                <c:pt idx="62">
                  <c:v>12393</c:v>
                </c:pt>
                <c:pt idx="63">
                  <c:v>12954</c:v>
                </c:pt>
                <c:pt idx="64">
                  <c:v>13703</c:v>
                </c:pt>
                <c:pt idx="65">
                  <c:v>14514</c:v>
                </c:pt>
                <c:pt idx="66">
                  <c:v>15240</c:v>
                </c:pt>
                <c:pt idx="67">
                  <c:v>15570</c:v>
                </c:pt>
                <c:pt idx="68">
                  <c:v>15694</c:v>
                </c:pt>
                <c:pt idx="69">
                  <c:v>16090</c:v>
                </c:pt>
                <c:pt idx="70">
                  <c:v>16676</c:v>
                </c:pt>
                <c:pt idx="71">
                  <c:v>17609</c:v>
                </c:pt>
                <c:pt idx="72">
                  <c:v>18336</c:v>
                </c:pt>
                <c:pt idx="73">
                  <c:v>19019</c:v>
                </c:pt>
                <c:pt idx="74">
                  <c:v>19270</c:v>
                </c:pt>
                <c:pt idx="75">
                  <c:v>19464</c:v>
                </c:pt>
                <c:pt idx="76">
                  <c:v>20020</c:v>
                </c:pt>
                <c:pt idx="77">
                  <c:v>20203</c:v>
                </c:pt>
                <c:pt idx="78">
                  <c:v>20633</c:v>
                </c:pt>
                <c:pt idx="79">
                  <c:v>21027</c:v>
                </c:pt>
                <c:pt idx="80">
                  <c:v>21385</c:v>
                </c:pt>
                <c:pt idx="81">
                  <c:v>21514</c:v>
                </c:pt>
                <c:pt idx="82">
                  <c:v>21622</c:v>
                </c:pt>
                <c:pt idx="83">
                  <c:v>22141</c:v>
                </c:pt>
                <c:pt idx="84">
                  <c:v>22444</c:v>
                </c:pt>
                <c:pt idx="85">
                  <c:v>22659</c:v>
                </c:pt>
                <c:pt idx="86">
                  <c:v>22907</c:v>
                </c:pt>
                <c:pt idx="87">
                  <c:v>23126</c:v>
                </c:pt>
                <c:pt idx="88">
                  <c:v>23227</c:v>
                </c:pt>
                <c:pt idx="89">
                  <c:v>23270</c:v>
                </c:pt>
                <c:pt idx="90">
                  <c:v>23593</c:v>
                </c:pt>
                <c:pt idx="91">
                  <c:v>23801</c:v>
                </c:pt>
                <c:pt idx="92">
                  <c:v>23999</c:v>
                </c:pt>
                <c:pt idx="93">
                  <c:v>24186</c:v>
                </c:pt>
                <c:pt idx="94">
                  <c:v>24415</c:v>
                </c:pt>
                <c:pt idx="95">
                  <c:v>24542</c:v>
                </c:pt>
                <c:pt idx="96">
                  <c:v>24586</c:v>
                </c:pt>
                <c:pt idx="97">
                  <c:v>24849</c:v>
                </c:pt>
                <c:pt idx="98">
                  <c:v>25013</c:v>
                </c:pt>
                <c:pt idx="99">
                  <c:v>25216</c:v>
                </c:pt>
                <c:pt idx="100">
                  <c:v>25359</c:v>
                </c:pt>
                <c:pt idx="101">
                  <c:v>25666</c:v>
                </c:pt>
                <c:pt idx="102">
                  <c:v>25754</c:v>
                </c:pt>
                <c:pt idx="103">
                  <c:v>25819</c:v>
                </c:pt>
                <c:pt idx="104">
                  <c:v>26097</c:v>
                </c:pt>
                <c:pt idx="105">
                  <c:v>26301</c:v>
                </c:pt>
                <c:pt idx="106">
                  <c:v>26495</c:v>
                </c:pt>
                <c:pt idx="107">
                  <c:v>26613</c:v>
                </c:pt>
                <c:pt idx="108">
                  <c:v>26902</c:v>
                </c:pt>
                <c:pt idx="109">
                  <c:v>26988</c:v>
                </c:pt>
                <c:pt idx="110">
                  <c:v>27036</c:v>
                </c:pt>
                <c:pt idx="111">
                  <c:v>27372</c:v>
                </c:pt>
                <c:pt idx="112">
                  <c:v>27655</c:v>
                </c:pt>
                <c:pt idx="113">
                  <c:v>27892</c:v>
                </c:pt>
                <c:pt idx="114">
                  <c:v>27937</c:v>
                </c:pt>
                <c:pt idx="115">
                  <c:v>28052</c:v>
                </c:pt>
                <c:pt idx="116">
                  <c:v>28178</c:v>
                </c:pt>
                <c:pt idx="117">
                  <c:v>28320</c:v>
                </c:pt>
                <c:pt idx="118">
                  <c:v>28674</c:v>
                </c:pt>
                <c:pt idx="119">
                  <c:v>29004</c:v>
                </c:pt>
                <c:pt idx="120">
                  <c:v>29255</c:v>
                </c:pt>
                <c:pt idx="121">
                  <c:v>29472</c:v>
                </c:pt>
                <c:pt idx="122">
                  <c:v>29564</c:v>
                </c:pt>
                <c:pt idx="123">
                  <c:v>29680</c:v>
                </c:pt>
                <c:pt idx="124">
                  <c:v>29755</c:v>
                </c:pt>
                <c:pt idx="125">
                  <c:v>30285</c:v>
                </c:pt>
                <c:pt idx="126">
                  <c:v>30579</c:v>
                </c:pt>
                <c:pt idx="127">
                  <c:v>30854</c:v>
                </c:pt>
                <c:pt idx="128">
                  <c:v>31182</c:v>
                </c:pt>
                <c:pt idx="129">
                  <c:v>31486</c:v>
                </c:pt>
                <c:pt idx="130">
                  <c:v>31594</c:v>
                </c:pt>
                <c:pt idx="131">
                  <c:v>31646</c:v>
                </c:pt>
                <c:pt idx="132">
                  <c:v>32110</c:v>
                </c:pt>
                <c:pt idx="133">
                  <c:v>32330</c:v>
                </c:pt>
                <c:pt idx="134">
                  <c:v>32611</c:v>
                </c:pt>
                <c:pt idx="135">
                  <c:v>32761</c:v>
                </c:pt>
                <c:pt idx="136">
                  <c:v>32909</c:v>
                </c:pt>
                <c:pt idx="137">
                  <c:v>32975</c:v>
                </c:pt>
                <c:pt idx="138">
                  <c:v>33046</c:v>
                </c:pt>
                <c:pt idx="139">
                  <c:v>33328</c:v>
                </c:pt>
                <c:pt idx="140">
                  <c:v>33480</c:v>
                </c:pt>
                <c:pt idx="141">
                  <c:v>33697</c:v>
                </c:pt>
                <c:pt idx="142">
                  <c:v>33861</c:v>
                </c:pt>
                <c:pt idx="143">
                  <c:v>34053</c:v>
                </c:pt>
                <c:pt idx="144">
                  <c:v>34132</c:v>
                </c:pt>
                <c:pt idx="145">
                  <c:v>34167</c:v>
                </c:pt>
                <c:pt idx="146">
                  <c:v>34341</c:v>
                </c:pt>
                <c:pt idx="147">
                  <c:v>34458</c:v>
                </c:pt>
                <c:pt idx="148">
                  <c:v>34608</c:v>
                </c:pt>
                <c:pt idx="149">
                  <c:v>34705</c:v>
                </c:pt>
                <c:pt idx="150">
                  <c:v>34787</c:v>
                </c:pt>
                <c:pt idx="151">
                  <c:v>34865</c:v>
                </c:pt>
                <c:pt idx="152">
                  <c:v>34883</c:v>
                </c:pt>
                <c:pt idx="153">
                  <c:v>35066</c:v>
                </c:pt>
                <c:pt idx="154">
                  <c:v>35227</c:v>
                </c:pt>
                <c:pt idx="155">
                  <c:v>35383</c:v>
                </c:pt>
                <c:pt idx="156">
                  <c:v>35506</c:v>
                </c:pt>
                <c:pt idx="157">
                  <c:v>35636</c:v>
                </c:pt>
                <c:pt idx="158">
                  <c:v>35688</c:v>
                </c:pt>
                <c:pt idx="159">
                  <c:v>35721</c:v>
                </c:pt>
                <c:pt idx="160">
                  <c:v>35852</c:v>
                </c:pt>
                <c:pt idx="161">
                  <c:v>35938</c:v>
                </c:pt>
                <c:pt idx="162">
                  <c:v>36038</c:v>
                </c:pt>
                <c:pt idx="163">
                  <c:v>36141</c:v>
                </c:pt>
                <c:pt idx="164">
                  <c:v>36232</c:v>
                </c:pt>
                <c:pt idx="165">
                  <c:v>36255</c:v>
                </c:pt>
                <c:pt idx="166">
                  <c:v>36276</c:v>
                </c:pt>
                <c:pt idx="167">
                  <c:v>36375</c:v>
                </c:pt>
                <c:pt idx="168">
                  <c:v>36425</c:v>
                </c:pt>
                <c:pt idx="169">
                  <c:v>36491</c:v>
                </c:pt>
                <c:pt idx="170">
                  <c:v>36546</c:v>
                </c:pt>
                <c:pt idx="171">
                  <c:v>36605</c:v>
                </c:pt>
                <c:pt idx="172">
                  <c:v>36629</c:v>
                </c:pt>
                <c:pt idx="173">
                  <c:v>36652</c:v>
                </c:pt>
                <c:pt idx="174">
                  <c:v>36812</c:v>
                </c:pt>
                <c:pt idx="175">
                  <c:v>36891</c:v>
                </c:pt>
                <c:pt idx="176">
                  <c:v>36960</c:v>
                </c:pt>
                <c:pt idx="177">
                  <c:v>37037</c:v>
                </c:pt>
                <c:pt idx="178">
                  <c:v>37121</c:v>
                </c:pt>
                <c:pt idx="179">
                  <c:v>37139</c:v>
                </c:pt>
                <c:pt idx="180">
                  <c:v>37151</c:v>
                </c:pt>
                <c:pt idx="181">
                  <c:v>37284</c:v>
                </c:pt>
                <c:pt idx="182">
                  <c:v>37350</c:v>
                </c:pt>
                <c:pt idx="183">
                  <c:v>37451</c:v>
                </c:pt>
                <c:pt idx="184">
                  <c:v>37493</c:v>
                </c:pt>
                <c:pt idx="185">
                  <c:v>37543</c:v>
                </c:pt>
                <c:pt idx="186">
                  <c:v>37560</c:v>
                </c:pt>
                <c:pt idx="187">
                  <c:v>37574</c:v>
                </c:pt>
                <c:pt idx="188">
                  <c:v>37660</c:v>
                </c:pt>
                <c:pt idx="189">
                  <c:v>37767</c:v>
                </c:pt>
                <c:pt idx="190">
                  <c:v>37851</c:v>
                </c:pt>
                <c:pt idx="191">
                  <c:v>37888</c:v>
                </c:pt>
                <c:pt idx="192">
                  <c:v>37931</c:v>
                </c:pt>
                <c:pt idx="193">
                  <c:v>37951</c:v>
                </c:pt>
                <c:pt idx="194">
                  <c:v>37964</c:v>
                </c:pt>
                <c:pt idx="195">
                  <c:v>38025</c:v>
                </c:pt>
                <c:pt idx="196">
                  <c:v>38068</c:v>
                </c:pt>
                <c:pt idx="197">
                  <c:v>38098</c:v>
                </c:pt>
                <c:pt idx="198">
                  <c:v>38150</c:v>
                </c:pt>
                <c:pt idx="199">
                  <c:v>38188</c:v>
                </c:pt>
                <c:pt idx="200">
                  <c:v>38197</c:v>
                </c:pt>
                <c:pt idx="201">
                  <c:v>38205</c:v>
                </c:pt>
                <c:pt idx="202">
                  <c:v>38245</c:v>
                </c:pt>
                <c:pt idx="203">
                  <c:v>38290</c:v>
                </c:pt>
                <c:pt idx="204">
                  <c:v>38319</c:v>
                </c:pt>
                <c:pt idx="205">
                  <c:v>38358</c:v>
                </c:pt>
                <c:pt idx="206">
                  <c:v>38380</c:v>
                </c:pt>
                <c:pt idx="207">
                  <c:v>38386</c:v>
                </c:pt>
                <c:pt idx="208">
                  <c:v>38391</c:v>
                </c:pt>
                <c:pt idx="209">
                  <c:v>38430</c:v>
                </c:pt>
                <c:pt idx="210">
                  <c:v>38452</c:v>
                </c:pt>
                <c:pt idx="211">
                  <c:v>38473</c:v>
                </c:pt>
                <c:pt idx="212">
                  <c:v>38493</c:v>
                </c:pt>
                <c:pt idx="213">
                  <c:v>38499</c:v>
                </c:pt>
                <c:pt idx="214">
                  <c:v>38505</c:v>
                </c:pt>
                <c:pt idx="215">
                  <c:v>38509</c:v>
                </c:pt>
                <c:pt idx="216">
                  <c:v>38514</c:v>
                </c:pt>
                <c:pt idx="217">
                  <c:v>38539</c:v>
                </c:pt>
                <c:pt idx="218">
                  <c:v>38570</c:v>
                </c:pt>
                <c:pt idx="219">
                  <c:v>38587</c:v>
                </c:pt>
                <c:pt idx="220">
                  <c:v>38598</c:v>
                </c:pt>
                <c:pt idx="221">
                  <c:v>38603</c:v>
                </c:pt>
                <c:pt idx="222">
                  <c:v>38604</c:v>
                </c:pt>
                <c:pt idx="223">
                  <c:v>38613</c:v>
                </c:pt>
                <c:pt idx="224">
                  <c:v>38621</c:v>
                </c:pt>
                <c:pt idx="225">
                  <c:v>38626</c:v>
                </c:pt>
                <c:pt idx="226">
                  <c:v>38634</c:v>
                </c:pt>
                <c:pt idx="227">
                  <c:v>38641</c:v>
                </c:pt>
                <c:pt idx="228">
                  <c:v>38643</c:v>
                </c:pt>
                <c:pt idx="229">
                  <c:v>38645</c:v>
                </c:pt>
                <c:pt idx="230">
                  <c:v>38660</c:v>
                </c:pt>
                <c:pt idx="231">
                  <c:v>38667</c:v>
                </c:pt>
                <c:pt idx="232">
                  <c:v>38673</c:v>
                </c:pt>
                <c:pt idx="233">
                  <c:v>38686</c:v>
                </c:pt>
                <c:pt idx="234">
                  <c:v>38692</c:v>
                </c:pt>
                <c:pt idx="235">
                  <c:v>38694</c:v>
                </c:pt>
                <c:pt idx="236">
                  <c:v>38694</c:v>
                </c:pt>
                <c:pt idx="237">
                  <c:v>38700</c:v>
                </c:pt>
                <c:pt idx="238">
                  <c:v>38708</c:v>
                </c:pt>
                <c:pt idx="239">
                  <c:v>38709</c:v>
                </c:pt>
                <c:pt idx="240">
                  <c:v>38713</c:v>
                </c:pt>
                <c:pt idx="241">
                  <c:v>38718</c:v>
                </c:pt>
                <c:pt idx="242">
                  <c:v>38718</c:v>
                </c:pt>
                <c:pt idx="243">
                  <c:v>38719</c:v>
                </c:pt>
                <c:pt idx="244">
                  <c:v>38721</c:v>
                </c:pt>
                <c:pt idx="245">
                  <c:v>38723</c:v>
                </c:pt>
                <c:pt idx="246">
                  <c:v>38726</c:v>
                </c:pt>
                <c:pt idx="247">
                  <c:v>38730</c:v>
                </c:pt>
                <c:pt idx="248">
                  <c:v>38733</c:v>
                </c:pt>
                <c:pt idx="249">
                  <c:v>38734</c:v>
                </c:pt>
                <c:pt idx="250">
                  <c:v>38737</c:v>
                </c:pt>
                <c:pt idx="251">
                  <c:v>38743</c:v>
                </c:pt>
                <c:pt idx="252">
                  <c:v>38749</c:v>
                </c:pt>
                <c:pt idx="253">
                  <c:v>38749</c:v>
                </c:pt>
                <c:pt idx="254">
                  <c:v>38752</c:v>
                </c:pt>
                <c:pt idx="255">
                  <c:v>38756</c:v>
                </c:pt>
                <c:pt idx="256">
                  <c:v>38757</c:v>
                </c:pt>
                <c:pt idx="257">
                  <c:v>38757</c:v>
                </c:pt>
                <c:pt idx="258">
                  <c:v>38764</c:v>
                </c:pt>
                <c:pt idx="259">
                  <c:v>38768</c:v>
                </c:pt>
                <c:pt idx="260">
                  <c:v>38771</c:v>
                </c:pt>
                <c:pt idx="261">
                  <c:v>38774</c:v>
                </c:pt>
                <c:pt idx="262">
                  <c:v>38774</c:v>
                </c:pt>
                <c:pt idx="263">
                  <c:v>38774</c:v>
                </c:pt>
                <c:pt idx="264">
                  <c:v>38774</c:v>
                </c:pt>
                <c:pt idx="265">
                  <c:v>38777</c:v>
                </c:pt>
                <c:pt idx="266">
                  <c:v>38778</c:v>
                </c:pt>
                <c:pt idx="267">
                  <c:v>38779</c:v>
                </c:pt>
                <c:pt idx="268">
                  <c:v>38779</c:v>
                </c:pt>
                <c:pt idx="269">
                  <c:v>38779</c:v>
                </c:pt>
                <c:pt idx="270">
                  <c:v>38779</c:v>
                </c:pt>
                <c:pt idx="271">
                  <c:v>38779</c:v>
                </c:pt>
                <c:pt idx="272">
                  <c:v>38779</c:v>
                </c:pt>
                <c:pt idx="273">
                  <c:v>38779</c:v>
                </c:pt>
                <c:pt idx="274">
                  <c:v>38782</c:v>
                </c:pt>
                <c:pt idx="275">
                  <c:v>38784</c:v>
                </c:pt>
                <c:pt idx="276">
                  <c:v>38784</c:v>
                </c:pt>
                <c:pt idx="277">
                  <c:v>38784</c:v>
                </c:pt>
                <c:pt idx="278">
                  <c:v>38784</c:v>
                </c:pt>
                <c:pt idx="279">
                  <c:v>38784</c:v>
                </c:pt>
                <c:pt idx="280">
                  <c:v>38784</c:v>
                </c:pt>
                <c:pt idx="281">
                  <c:v>38784</c:v>
                </c:pt>
                <c:pt idx="282">
                  <c:v>38784</c:v>
                </c:pt>
                <c:pt idx="283">
                  <c:v>38785</c:v>
                </c:pt>
                <c:pt idx="284">
                  <c:v>38785</c:v>
                </c:pt>
                <c:pt idx="285">
                  <c:v>38785</c:v>
                </c:pt>
                <c:pt idx="286">
                  <c:v>38785</c:v>
                </c:pt>
                <c:pt idx="287">
                  <c:v>38785</c:v>
                </c:pt>
                <c:pt idx="288">
                  <c:v>38785</c:v>
                </c:pt>
                <c:pt idx="289">
                  <c:v>38786</c:v>
                </c:pt>
                <c:pt idx="290">
                  <c:v>38786</c:v>
                </c:pt>
                <c:pt idx="291">
                  <c:v>38786</c:v>
                </c:pt>
                <c:pt idx="292">
                  <c:v>38786</c:v>
                </c:pt>
                <c:pt idx="293">
                  <c:v>38786</c:v>
                </c:pt>
                <c:pt idx="294">
                  <c:v>38786</c:v>
                </c:pt>
                <c:pt idx="295">
                  <c:v>38787</c:v>
                </c:pt>
                <c:pt idx="296">
                  <c:v>38788</c:v>
                </c:pt>
                <c:pt idx="297">
                  <c:v>38788</c:v>
                </c:pt>
                <c:pt idx="298">
                  <c:v>38788</c:v>
                </c:pt>
                <c:pt idx="299">
                  <c:v>38788</c:v>
                </c:pt>
                <c:pt idx="300">
                  <c:v>38788</c:v>
                </c:pt>
                <c:pt idx="301">
                  <c:v>38788</c:v>
                </c:pt>
                <c:pt idx="302">
                  <c:v>38789</c:v>
                </c:pt>
                <c:pt idx="303">
                  <c:v>38790</c:v>
                </c:pt>
                <c:pt idx="304">
                  <c:v>38790</c:v>
                </c:pt>
                <c:pt idx="305">
                  <c:v>38790</c:v>
                </c:pt>
                <c:pt idx="306">
                  <c:v>38791</c:v>
                </c:pt>
                <c:pt idx="307">
                  <c:v>38791</c:v>
                </c:pt>
                <c:pt idx="308">
                  <c:v>38791</c:v>
                </c:pt>
                <c:pt idx="309">
                  <c:v>38791</c:v>
                </c:pt>
                <c:pt idx="310">
                  <c:v>38792</c:v>
                </c:pt>
                <c:pt idx="311">
                  <c:v>38792</c:v>
                </c:pt>
                <c:pt idx="312">
                  <c:v>38792</c:v>
                </c:pt>
                <c:pt idx="313">
                  <c:v>38793</c:v>
                </c:pt>
                <c:pt idx="314">
                  <c:v>38793</c:v>
                </c:pt>
                <c:pt idx="315">
                  <c:v>38793</c:v>
                </c:pt>
                <c:pt idx="316">
                  <c:v>38793</c:v>
                </c:pt>
                <c:pt idx="317">
                  <c:v>38793</c:v>
                </c:pt>
                <c:pt idx="318">
                  <c:v>38793</c:v>
                </c:pt>
                <c:pt idx="319">
                  <c:v>38793</c:v>
                </c:pt>
                <c:pt idx="320">
                  <c:v>38793</c:v>
                </c:pt>
                <c:pt idx="321">
                  <c:v>38793</c:v>
                </c:pt>
                <c:pt idx="322">
                  <c:v>38793</c:v>
                </c:pt>
                <c:pt idx="323">
                  <c:v>38794</c:v>
                </c:pt>
                <c:pt idx="324">
                  <c:v>38794</c:v>
                </c:pt>
                <c:pt idx="325">
                  <c:v>38794</c:v>
                </c:pt>
                <c:pt idx="326">
                  <c:v>38794</c:v>
                </c:pt>
                <c:pt idx="327">
                  <c:v>38794</c:v>
                </c:pt>
                <c:pt idx="328">
                  <c:v>38794</c:v>
                </c:pt>
                <c:pt idx="329">
                  <c:v>38794</c:v>
                </c:pt>
                <c:pt idx="330">
                  <c:v>38796</c:v>
                </c:pt>
                <c:pt idx="331">
                  <c:v>38796</c:v>
                </c:pt>
                <c:pt idx="332">
                  <c:v>38796</c:v>
                </c:pt>
                <c:pt idx="333">
                  <c:v>38796</c:v>
                </c:pt>
                <c:pt idx="334">
                  <c:v>38796</c:v>
                </c:pt>
                <c:pt idx="335">
                  <c:v>38796</c:v>
                </c:pt>
                <c:pt idx="336">
                  <c:v>38796</c:v>
                </c:pt>
                <c:pt idx="337">
                  <c:v>38796</c:v>
                </c:pt>
                <c:pt idx="338">
                  <c:v>38796</c:v>
                </c:pt>
                <c:pt idx="339">
                  <c:v>38796</c:v>
                </c:pt>
                <c:pt idx="340">
                  <c:v>38796</c:v>
                </c:pt>
                <c:pt idx="341">
                  <c:v>38797</c:v>
                </c:pt>
                <c:pt idx="342">
                  <c:v>38797</c:v>
                </c:pt>
                <c:pt idx="343">
                  <c:v>38797</c:v>
                </c:pt>
                <c:pt idx="344">
                  <c:v>38798</c:v>
                </c:pt>
                <c:pt idx="345">
                  <c:v>38798</c:v>
                </c:pt>
                <c:pt idx="346">
                  <c:v>38798</c:v>
                </c:pt>
                <c:pt idx="347">
                  <c:v>38798</c:v>
                </c:pt>
                <c:pt idx="348">
                  <c:v>38798</c:v>
                </c:pt>
                <c:pt idx="349">
                  <c:v>38799</c:v>
                </c:pt>
                <c:pt idx="350">
                  <c:v>38800</c:v>
                </c:pt>
                <c:pt idx="351">
                  <c:v>38800</c:v>
                </c:pt>
                <c:pt idx="352">
                  <c:v>38801</c:v>
                </c:pt>
                <c:pt idx="353">
                  <c:v>38801</c:v>
                </c:pt>
                <c:pt idx="354">
                  <c:v>38801</c:v>
                </c:pt>
                <c:pt idx="355">
                  <c:v>38801</c:v>
                </c:pt>
                <c:pt idx="356">
                  <c:v>38804</c:v>
                </c:pt>
                <c:pt idx="357">
                  <c:v>38804</c:v>
                </c:pt>
                <c:pt idx="358">
                  <c:v>38804</c:v>
                </c:pt>
                <c:pt idx="359">
                  <c:v>38805</c:v>
                </c:pt>
                <c:pt idx="360">
                  <c:v>38806</c:v>
                </c:pt>
                <c:pt idx="361">
                  <c:v>38807</c:v>
                </c:pt>
                <c:pt idx="362">
                  <c:v>38807</c:v>
                </c:pt>
                <c:pt idx="363">
                  <c:v>38807</c:v>
                </c:pt>
                <c:pt idx="364">
                  <c:v>38807</c:v>
                </c:pt>
                <c:pt idx="365">
                  <c:v>38810</c:v>
                </c:pt>
                <c:pt idx="366">
                  <c:v>38815</c:v>
                </c:pt>
                <c:pt idx="367">
                  <c:v>38818</c:v>
                </c:pt>
                <c:pt idx="368">
                  <c:v>38819</c:v>
                </c:pt>
                <c:pt idx="369">
                  <c:v>38819</c:v>
                </c:pt>
                <c:pt idx="370">
                  <c:v>38824</c:v>
                </c:pt>
                <c:pt idx="371">
                  <c:v>38826</c:v>
                </c:pt>
                <c:pt idx="372">
                  <c:v>38827</c:v>
                </c:pt>
                <c:pt idx="373">
                  <c:v>38829</c:v>
                </c:pt>
                <c:pt idx="374">
                  <c:v>38829</c:v>
                </c:pt>
                <c:pt idx="375">
                  <c:v>38829</c:v>
                </c:pt>
                <c:pt idx="376">
                  <c:v>38829</c:v>
                </c:pt>
                <c:pt idx="377">
                  <c:v>38830</c:v>
                </c:pt>
                <c:pt idx="378">
                  <c:v>38831</c:v>
                </c:pt>
                <c:pt idx="379">
                  <c:v>38831</c:v>
                </c:pt>
                <c:pt idx="380">
                  <c:v>38831</c:v>
                </c:pt>
                <c:pt idx="381">
                  <c:v>38831</c:v>
                </c:pt>
                <c:pt idx="382">
                  <c:v>38832</c:v>
                </c:pt>
                <c:pt idx="383">
                  <c:v>38832</c:v>
                </c:pt>
                <c:pt idx="384">
                  <c:v>38837</c:v>
                </c:pt>
                <c:pt idx="385">
                  <c:v>38843</c:v>
                </c:pt>
                <c:pt idx="386">
                  <c:v>38846</c:v>
                </c:pt>
                <c:pt idx="387">
                  <c:v>38846</c:v>
                </c:pt>
                <c:pt idx="388">
                  <c:v>38846</c:v>
                </c:pt>
                <c:pt idx="389">
                  <c:v>38847</c:v>
                </c:pt>
                <c:pt idx="390">
                  <c:v>38847</c:v>
                </c:pt>
                <c:pt idx="391">
                  <c:v>38852</c:v>
                </c:pt>
                <c:pt idx="392">
                  <c:v>38854</c:v>
                </c:pt>
                <c:pt idx="393">
                  <c:v>38860</c:v>
                </c:pt>
                <c:pt idx="394">
                  <c:v>38862</c:v>
                </c:pt>
                <c:pt idx="395">
                  <c:v>38865</c:v>
                </c:pt>
                <c:pt idx="396">
                  <c:v>38866</c:v>
                </c:pt>
                <c:pt idx="397">
                  <c:v>38867</c:v>
                </c:pt>
                <c:pt idx="398">
                  <c:v>38869</c:v>
                </c:pt>
                <c:pt idx="399">
                  <c:v>38872</c:v>
                </c:pt>
                <c:pt idx="400">
                  <c:v>38881</c:v>
                </c:pt>
                <c:pt idx="401">
                  <c:v>38883</c:v>
                </c:pt>
                <c:pt idx="402">
                  <c:v>38889</c:v>
                </c:pt>
                <c:pt idx="403">
                  <c:v>38890</c:v>
                </c:pt>
                <c:pt idx="404">
                  <c:v>38890</c:v>
                </c:pt>
                <c:pt idx="405">
                  <c:v>38894</c:v>
                </c:pt>
                <c:pt idx="406">
                  <c:v>38897</c:v>
                </c:pt>
                <c:pt idx="407">
                  <c:v>38917</c:v>
                </c:pt>
                <c:pt idx="408">
                  <c:v>38920</c:v>
                </c:pt>
                <c:pt idx="409">
                  <c:v>38924</c:v>
                </c:pt>
                <c:pt idx="410">
                  <c:v>38927</c:v>
                </c:pt>
                <c:pt idx="411">
                  <c:v>38928</c:v>
                </c:pt>
                <c:pt idx="412">
                  <c:v>38938</c:v>
                </c:pt>
                <c:pt idx="413">
                  <c:v>38949</c:v>
                </c:pt>
                <c:pt idx="414">
                  <c:v>38958</c:v>
                </c:pt>
                <c:pt idx="415">
                  <c:v>389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17</c:f>
              <c:numCache>
                <c:formatCode>m/d/yyyy</c:formatCode>
                <c:ptCount val="4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</c:numCache>
            </c:numRef>
          </c:cat>
          <c:val>
            <c:numRef>
              <c:f>List1!$B$2:$B$417</c:f>
              <c:numCache>
                <c:formatCode>General</c:formatCode>
                <c:ptCount val="416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9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6</c:v>
                </c:pt>
                <c:pt idx="31">
                  <c:v>119</c:v>
                </c:pt>
                <c:pt idx="32">
                  <c:v>154</c:v>
                </c:pt>
                <c:pt idx="33">
                  <c:v>206</c:v>
                </c:pt>
                <c:pt idx="34">
                  <c:v>333</c:v>
                </c:pt>
                <c:pt idx="35">
                  <c:v>405</c:v>
                </c:pt>
                <c:pt idx="36">
                  <c:v>443</c:v>
                </c:pt>
                <c:pt idx="37">
                  <c:v>511</c:v>
                </c:pt>
                <c:pt idx="38">
                  <c:v>643</c:v>
                </c:pt>
                <c:pt idx="39">
                  <c:v>663</c:v>
                </c:pt>
                <c:pt idx="40">
                  <c:v>630</c:v>
                </c:pt>
                <c:pt idx="41">
                  <c:v>743</c:v>
                </c:pt>
                <c:pt idx="42">
                  <c:v>913</c:v>
                </c:pt>
                <c:pt idx="43">
                  <c:v>1043</c:v>
                </c:pt>
                <c:pt idx="44">
                  <c:v>1208</c:v>
                </c:pt>
                <c:pt idx="45">
                  <c:v>1335</c:v>
                </c:pt>
                <c:pt idx="46">
                  <c:v>1413</c:v>
                </c:pt>
                <c:pt idx="47">
                  <c:v>1367</c:v>
                </c:pt>
                <c:pt idx="48">
                  <c:v>1537</c:v>
                </c:pt>
                <c:pt idx="49">
                  <c:v>1646</c:v>
                </c:pt>
                <c:pt idx="50">
                  <c:v>1924</c:v>
                </c:pt>
                <c:pt idx="51">
                  <c:v>2079</c:v>
                </c:pt>
                <c:pt idx="52">
                  <c:v>2365</c:v>
                </c:pt>
                <c:pt idx="53">
                  <c:v>2447</c:v>
                </c:pt>
                <c:pt idx="54">
                  <c:v>2489</c:v>
                </c:pt>
                <c:pt idx="55">
                  <c:v>2669</c:v>
                </c:pt>
                <c:pt idx="56">
                  <c:v>2998</c:v>
                </c:pt>
                <c:pt idx="57">
                  <c:v>3023</c:v>
                </c:pt>
                <c:pt idx="58">
                  <c:v>3459</c:v>
                </c:pt>
                <c:pt idx="59">
                  <c:v>3755</c:v>
                </c:pt>
                <c:pt idx="60">
                  <c:v>3842</c:v>
                </c:pt>
                <c:pt idx="61">
                  <c:v>3737</c:v>
                </c:pt>
                <c:pt idx="62">
                  <c:v>3798</c:v>
                </c:pt>
                <c:pt idx="63">
                  <c:v>3728</c:v>
                </c:pt>
                <c:pt idx="64">
                  <c:v>3939</c:v>
                </c:pt>
                <c:pt idx="65">
                  <c:v>4268</c:v>
                </c:pt>
                <c:pt idx="66">
                  <c:v>4126</c:v>
                </c:pt>
                <c:pt idx="67">
                  <c:v>3777</c:v>
                </c:pt>
                <c:pt idx="68">
                  <c:v>3696</c:v>
                </c:pt>
                <c:pt idx="69">
                  <c:v>3450</c:v>
                </c:pt>
                <c:pt idx="70">
                  <c:v>3331</c:v>
                </c:pt>
                <c:pt idx="71">
                  <c:v>3747</c:v>
                </c:pt>
                <c:pt idx="72">
                  <c:v>4129</c:v>
                </c:pt>
                <c:pt idx="73">
                  <c:v>4176</c:v>
                </c:pt>
                <c:pt idx="74">
                  <c:v>3833</c:v>
                </c:pt>
                <c:pt idx="75">
                  <c:v>3720</c:v>
                </c:pt>
                <c:pt idx="76">
                  <c:v>3732</c:v>
                </c:pt>
                <c:pt idx="77">
                  <c:v>3519</c:v>
                </c:pt>
                <c:pt idx="78">
                  <c:v>3710</c:v>
                </c:pt>
                <c:pt idx="79">
                  <c:v>3860</c:v>
                </c:pt>
                <c:pt idx="80">
                  <c:v>3916</c:v>
                </c:pt>
                <c:pt idx="81">
                  <c:v>3536</c:v>
                </c:pt>
                <c:pt idx="82">
                  <c:v>3260</c:v>
                </c:pt>
                <c:pt idx="83">
                  <c:v>3385</c:v>
                </c:pt>
                <c:pt idx="84">
                  <c:v>3100</c:v>
                </c:pt>
                <c:pt idx="85">
                  <c:v>3092</c:v>
                </c:pt>
                <c:pt idx="86">
                  <c:v>3187</c:v>
                </c:pt>
                <c:pt idx="87">
                  <c:v>2951</c:v>
                </c:pt>
                <c:pt idx="88">
                  <c:v>2919</c:v>
                </c:pt>
                <c:pt idx="89">
                  <c:v>2659</c:v>
                </c:pt>
                <c:pt idx="90">
                  <c:v>2563</c:v>
                </c:pt>
                <c:pt idx="91">
                  <c:v>2377</c:v>
                </c:pt>
                <c:pt idx="92">
                  <c:v>2409</c:v>
                </c:pt>
                <c:pt idx="93">
                  <c:v>2469</c:v>
                </c:pt>
                <c:pt idx="94">
                  <c:v>2354</c:v>
                </c:pt>
                <c:pt idx="95">
                  <c:v>2187</c:v>
                </c:pt>
                <c:pt idx="96">
                  <c:v>2034</c:v>
                </c:pt>
                <c:pt idx="97">
                  <c:v>1986</c:v>
                </c:pt>
                <c:pt idx="98">
                  <c:v>1840</c:v>
                </c:pt>
                <c:pt idx="99">
                  <c:v>1895</c:v>
                </c:pt>
                <c:pt idx="100">
                  <c:v>1946</c:v>
                </c:pt>
                <c:pt idx="101">
                  <c:v>1933</c:v>
                </c:pt>
                <c:pt idx="102">
                  <c:v>1842</c:v>
                </c:pt>
                <c:pt idx="103">
                  <c:v>1796</c:v>
                </c:pt>
                <c:pt idx="104">
                  <c:v>1800</c:v>
                </c:pt>
                <c:pt idx="105">
                  <c:v>1782</c:v>
                </c:pt>
                <c:pt idx="106">
                  <c:v>1783</c:v>
                </c:pt>
                <c:pt idx="107">
                  <c:v>1787</c:v>
                </c:pt>
                <c:pt idx="108">
                  <c:v>1828</c:v>
                </c:pt>
                <c:pt idx="109">
                  <c:v>1696</c:v>
                </c:pt>
                <c:pt idx="110">
                  <c:v>1631</c:v>
                </c:pt>
                <c:pt idx="111">
                  <c:v>1679</c:v>
                </c:pt>
                <c:pt idx="112">
                  <c:v>1690</c:v>
                </c:pt>
                <c:pt idx="113">
                  <c:v>1714</c:v>
                </c:pt>
                <c:pt idx="114">
                  <c:v>1680</c:v>
                </c:pt>
                <c:pt idx="115">
                  <c:v>1577</c:v>
                </c:pt>
                <c:pt idx="116">
                  <c:v>1551</c:v>
                </c:pt>
                <c:pt idx="117">
                  <c:v>1551</c:v>
                </c:pt>
                <c:pt idx="118">
                  <c:v>1595</c:v>
                </c:pt>
                <c:pt idx="119">
                  <c:v>1643</c:v>
                </c:pt>
                <c:pt idx="120">
                  <c:v>1740</c:v>
                </c:pt>
                <c:pt idx="121">
                  <c:v>1822</c:v>
                </c:pt>
                <c:pt idx="122">
                  <c:v>1687</c:v>
                </c:pt>
                <c:pt idx="123">
                  <c:v>1654</c:v>
                </c:pt>
                <c:pt idx="124">
                  <c:v>1487</c:v>
                </c:pt>
                <c:pt idx="125">
                  <c:v>1716</c:v>
                </c:pt>
                <c:pt idx="126">
                  <c:v>1804</c:v>
                </c:pt>
                <c:pt idx="127">
                  <c:v>1894</c:v>
                </c:pt>
                <c:pt idx="128">
                  <c:v>2035</c:v>
                </c:pt>
                <c:pt idx="129">
                  <c:v>2037</c:v>
                </c:pt>
                <c:pt idx="130">
                  <c:v>1902</c:v>
                </c:pt>
                <c:pt idx="131">
                  <c:v>1753</c:v>
                </c:pt>
                <c:pt idx="132">
                  <c:v>1895</c:v>
                </c:pt>
                <c:pt idx="133">
                  <c:v>1960</c:v>
                </c:pt>
                <c:pt idx="134">
                  <c:v>2064</c:v>
                </c:pt>
                <c:pt idx="135">
                  <c:v>2109</c:v>
                </c:pt>
                <c:pt idx="136">
                  <c:v>2024</c:v>
                </c:pt>
                <c:pt idx="137">
                  <c:v>1829</c:v>
                </c:pt>
                <c:pt idx="138">
                  <c:v>1673</c:v>
                </c:pt>
                <c:pt idx="139">
                  <c:v>1612</c:v>
                </c:pt>
                <c:pt idx="140">
                  <c:v>1498</c:v>
                </c:pt>
                <c:pt idx="141">
                  <c:v>1583</c:v>
                </c:pt>
                <c:pt idx="142">
                  <c:v>1653</c:v>
                </c:pt>
                <c:pt idx="143">
                  <c:v>1523</c:v>
                </c:pt>
                <c:pt idx="144">
                  <c:v>1458</c:v>
                </c:pt>
                <c:pt idx="145">
                  <c:v>1357</c:v>
                </c:pt>
                <c:pt idx="146">
                  <c:v>1319</c:v>
                </c:pt>
                <c:pt idx="147">
                  <c:v>1265</c:v>
                </c:pt>
                <c:pt idx="148">
                  <c:v>1314</c:v>
                </c:pt>
                <c:pt idx="149">
                  <c:v>1348</c:v>
                </c:pt>
                <c:pt idx="150">
                  <c:v>1206</c:v>
                </c:pt>
                <c:pt idx="151">
                  <c:v>1164</c:v>
                </c:pt>
                <c:pt idx="152">
                  <c:v>1028</c:v>
                </c:pt>
                <c:pt idx="153">
                  <c:v>1055</c:v>
                </c:pt>
                <c:pt idx="154">
                  <c:v>1078</c:v>
                </c:pt>
                <c:pt idx="155">
                  <c:v>1133</c:v>
                </c:pt>
                <c:pt idx="156">
                  <c:v>1161</c:v>
                </c:pt>
                <c:pt idx="157">
                  <c:v>1133</c:v>
                </c:pt>
                <c:pt idx="158">
                  <c:v>1071</c:v>
                </c:pt>
                <c:pt idx="159">
                  <c:v>1018</c:v>
                </c:pt>
                <c:pt idx="160">
                  <c:v>1031</c:v>
                </c:pt>
                <c:pt idx="161">
                  <c:v>1025</c:v>
                </c:pt>
                <c:pt idx="162">
                  <c:v>1067</c:v>
                </c:pt>
                <c:pt idx="163">
                  <c:v>1113</c:v>
                </c:pt>
                <c:pt idx="164">
                  <c:v>1077</c:v>
                </c:pt>
                <c:pt idx="165">
                  <c:v>956</c:v>
                </c:pt>
                <c:pt idx="166">
                  <c:v>863</c:v>
                </c:pt>
                <c:pt idx="167">
                  <c:v>843</c:v>
                </c:pt>
                <c:pt idx="168">
                  <c:v>759</c:v>
                </c:pt>
                <c:pt idx="169">
                  <c:v>738</c:v>
                </c:pt>
                <c:pt idx="170">
                  <c:v>752</c:v>
                </c:pt>
                <c:pt idx="171">
                  <c:v>693</c:v>
                </c:pt>
                <c:pt idx="172">
                  <c:v>632</c:v>
                </c:pt>
                <c:pt idx="173">
                  <c:v>560</c:v>
                </c:pt>
                <c:pt idx="174">
                  <c:v>605</c:v>
                </c:pt>
                <c:pt idx="175">
                  <c:v>579</c:v>
                </c:pt>
                <c:pt idx="176">
                  <c:v>591</c:v>
                </c:pt>
                <c:pt idx="177">
                  <c:v>621</c:v>
                </c:pt>
                <c:pt idx="178">
                  <c:v>609</c:v>
                </c:pt>
                <c:pt idx="179">
                  <c:v>576</c:v>
                </c:pt>
                <c:pt idx="180">
                  <c:v>557</c:v>
                </c:pt>
                <c:pt idx="181">
                  <c:v>604</c:v>
                </c:pt>
                <c:pt idx="182">
                  <c:v>570</c:v>
                </c:pt>
                <c:pt idx="183">
                  <c:v>577</c:v>
                </c:pt>
                <c:pt idx="184">
                  <c:v>569</c:v>
                </c:pt>
                <c:pt idx="185">
                  <c:v>501</c:v>
                </c:pt>
                <c:pt idx="186">
                  <c:v>471</c:v>
                </c:pt>
                <c:pt idx="187">
                  <c:v>428</c:v>
                </c:pt>
                <c:pt idx="188">
                  <c:v>423</c:v>
                </c:pt>
                <c:pt idx="189">
                  <c:v>437</c:v>
                </c:pt>
                <c:pt idx="190">
                  <c:v>478</c:v>
                </c:pt>
                <c:pt idx="191">
                  <c:v>477</c:v>
                </c:pt>
                <c:pt idx="192">
                  <c:v>498</c:v>
                </c:pt>
                <c:pt idx="193">
                  <c:v>495</c:v>
                </c:pt>
                <c:pt idx="194">
                  <c:v>495</c:v>
                </c:pt>
                <c:pt idx="195">
                  <c:v>516</c:v>
                </c:pt>
                <c:pt idx="196">
                  <c:v>453</c:v>
                </c:pt>
                <c:pt idx="197">
                  <c:v>431</c:v>
                </c:pt>
                <c:pt idx="198">
                  <c:v>417</c:v>
                </c:pt>
                <c:pt idx="199">
                  <c:v>418</c:v>
                </c:pt>
                <c:pt idx="200">
                  <c:v>397</c:v>
                </c:pt>
                <c:pt idx="201">
                  <c:v>395</c:v>
                </c:pt>
                <c:pt idx="202">
                  <c:v>400</c:v>
                </c:pt>
                <c:pt idx="203">
                  <c:v>400</c:v>
                </c:pt>
                <c:pt idx="204">
                  <c:v>367</c:v>
                </c:pt>
                <c:pt idx="205">
                  <c:v>364</c:v>
                </c:pt>
                <c:pt idx="206">
                  <c:v>346</c:v>
                </c:pt>
                <c:pt idx="207">
                  <c:v>312</c:v>
                </c:pt>
                <c:pt idx="208">
                  <c:v>311</c:v>
                </c:pt>
                <c:pt idx="209">
                  <c:v>323</c:v>
                </c:pt>
                <c:pt idx="210">
                  <c:v>290</c:v>
                </c:pt>
                <c:pt idx="211">
                  <c:v>281</c:v>
                </c:pt>
                <c:pt idx="212">
                  <c:v>267</c:v>
                </c:pt>
                <c:pt idx="213">
                  <c:v>238</c:v>
                </c:pt>
                <c:pt idx="214">
                  <c:v>228</c:v>
                </c:pt>
                <c:pt idx="215">
                  <c:v>227</c:v>
                </c:pt>
                <c:pt idx="216">
                  <c:v>225</c:v>
                </c:pt>
                <c:pt idx="217">
                  <c:v>195</c:v>
                </c:pt>
                <c:pt idx="218">
                  <c:v>190</c:v>
                </c:pt>
                <c:pt idx="219">
                  <c:v>177</c:v>
                </c:pt>
                <c:pt idx="220">
                  <c:v>148</c:v>
                </c:pt>
                <c:pt idx="221">
                  <c:v>143</c:v>
                </c:pt>
                <c:pt idx="222">
                  <c:v>142</c:v>
                </c:pt>
                <c:pt idx="223">
                  <c:v>142</c:v>
                </c:pt>
                <c:pt idx="224">
                  <c:v>131</c:v>
                </c:pt>
                <c:pt idx="225">
                  <c:v>109</c:v>
                </c:pt>
                <c:pt idx="226">
                  <c:v>99</c:v>
                </c:pt>
                <c:pt idx="227">
                  <c:v>85</c:v>
                </c:pt>
                <c:pt idx="228">
                  <c:v>83</c:v>
                </c:pt>
                <c:pt idx="229">
                  <c:v>84</c:v>
                </c:pt>
                <c:pt idx="230">
                  <c:v>88</c:v>
                </c:pt>
                <c:pt idx="231">
                  <c:v>82</c:v>
                </c:pt>
                <c:pt idx="232">
                  <c:v>75</c:v>
                </c:pt>
                <c:pt idx="233">
                  <c:v>74</c:v>
                </c:pt>
                <c:pt idx="234">
                  <c:v>75</c:v>
                </c:pt>
                <c:pt idx="235">
                  <c:v>70</c:v>
                </c:pt>
                <c:pt idx="236">
                  <c:v>69</c:v>
                </c:pt>
                <c:pt idx="237">
                  <c:v>69</c:v>
                </c:pt>
                <c:pt idx="238">
                  <c:v>67</c:v>
                </c:pt>
                <c:pt idx="239">
                  <c:v>65</c:v>
                </c:pt>
                <c:pt idx="240">
                  <c:v>64</c:v>
                </c:pt>
                <c:pt idx="241">
                  <c:v>64</c:v>
                </c:pt>
                <c:pt idx="242">
                  <c:v>58</c:v>
                </c:pt>
                <c:pt idx="243">
                  <c:v>58</c:v>
                </c:pt>
                <c:pt idx="244">
                  <c:v>58</c:v>
                </c:pt>
                <c:pt idx="245">
                  <c:v>55</c:v>
                </c:pt>
                <c:pt idx="246">
                  <c:v>51</c:v>
                </c:pt>
                <c:pt idx="247">
                  <c:v>45</c:v>
                </c:pt>
                <c:pt idx="248">
                  <c:v>44</c:v>
                </c:pt>
                <c:pt idx="249">
                  <c:v>38</c:v>
                </c:pt>
                <c:pt idx="250">
                  <c:v>41</c:v>
                </c:pt>
                <c:pt idx="251">
                  <c:v>45</c:v>
                </c:pt>
                <c:pt idx="252">
                  <c:v>45</c:v>
                </c:pt>
                <c:pt idx="253">
                  <c:v>42</c:v>
                </c:pt>
                <c:pt idx="254">
                  <c:v>40</c:v>
                </c:pt>
                <c:pt idx="255">
                  <c:v>40</c:v>
                </c:pt>
                <c:pt idx="256">
                  <c:v>38</c:v>
                </c:pt>
                <c:pt idx="257">
                  <c:v>37</c:v>
                </c:pt>
                <c:pt idx="258">
                  <c:v>39</c:v>
                </c:pt>
                <c:pt idx="259">
                  <c:v>35</c:v>
                </c:pt>
                <c:pt idx="260">
                  <c:v>37</c:v>
                </c:pt>
                <c:pt idx="261">
                  <c:v>34</c:v>
                </c:pt>
                <c:pt idx="262">
                  <c:v>34</c:v>
                </c:pt>
                <c:pt idx="263">
                  <c:v>33</c:v>
                </c:pt>
                <c:pt idx="264">
                  <c:v>32</c:v>
                </c:pt>
                <c:pt idx="265">
                  <c:v>33</c:v>
                </c:pt>
                <c:pt idx="266">
                  <c:v>32</c:v>
                </c:pt>
                <c:pt idx="267">
                  <c:v>31</c:v>
                </c:pt>
                <c:pt idx="268">
                  <c:v>29</c:v>
                </c:pt>
                <c:pt idx="269">
                  <c:v>28</c:v>
                </c:pt>
                <c:pt idx="270">
                  <c:v>28</c:v>
                </c:pt>
                <c:pt idx="271">
                  <c:v>25</c:v>
                </c:pt>
                <c:pt idx="272">
                  <c:v>24</c:v>
                </c:pt>
                <c:pt idx="273">
                  <c:v>23</c:v>
                </c:pt>
                <c:pt idx="274">
                  <c:v>26</c:v>
                </c:pt>
                <c:pt idx="275">
                  <c:v>22</c:v>
                </c:pt>
                <c:pt idx="276">
                  <c:v>18</c:v>
                </c:pt>
                <c:pt idx="277">
                  <c:v>17</c:v>
                </c:pt>
                <c:pt idx="278">
                  <c:v>17</c:v>
                </c:pt>
                <c:pt idx="279">
                  <c:v>17</c:v>
                </c:pt>
                <c:pt idx="280">
                  <c:v>17</c:v>
                </c:pt>
                <c:pt idx="281">
                  <c:v>16</c:v>
                </c:pt>
                <c:pt idx="282">
                  <c:v>15</c:v>
                </c:pt>
                <c:pt idx="283">
                  <c:v>16</c:v>
                </c:pt>
                <c:pt idx="284">
                  <c:v>13</c:v>
                </c:pt>
                <c:pt idx="285">
                  <c:v>13</c:v>
                </c:pt>
                <c:pt idx="286">
                  <c:v>13</c:v>
                </c:pt>
                <c:pt idx="287">
                  <c:v>13</c:v>
                </c:pt>
                <c:pt idx="288">
                  <c:v>13</c:v>
                </c:pt>
                <c:pt idx="289">
                  <c:v>13</c:v>
                </c:pt>
                <c:pt idx="290">
                  <c:v>13</c:v>
                </c:pt>
                <c:pt idx="291">
                  <c:v>13</c:v>
                </c:pt>
                <c:pt idx="292">
                  <c:v>13</c:v>
                </c:pt>
                <c:pt idx="293">
                  <c:v>13</c:v>
                </c:pt>
                <c:pt idx="294">
                  <c:v>13</c:v>
                </c:pt>
                <c:pt idx="295">
                  <c:v>14</c:v>
                </c:pt>
                <c:pt idx="296">
                  <c:v>14</c:v>
                </c:pt>
                <c:pt idx="297">
                  <c:v>13</c:v>
                </c:pt>
                <c:pt idx="298">
                  <c:v>13</c:v>
                </c:pt>
                <c:pt idx="299">
                  <c:v>13</c:v>
                </c:pt>
                <c:pt idx="300">
                  <c:v>13</c:v>
                </c:pt>
                <c:pt idx="301">
                  <c:v>13</c:v>
                </c:pt>
                <c:pt idx="302">
                  <c:v>12</c:v>
                </c:pt>
                <c:pt idx="303">
                  <c:v>13</c:v>
                </c:pt>
                <c:pt idx="304">
                  <c:v>11</c:v>
                </c:pt>
                <c:pt idx="305">
                  <c:v>11</c:v>
                </c:pt>
                <c:pt idx="306">
                  <c:v>12</c:v>
                </c:pt>
                <c:pt idx="307">
                  <c:v>12</c:v>
                </c:pt>
                <c:pt idx="308">
                  <c:v>12</c:v>
                </c:pt>
                <c:pt idx="309">
                  <c:v>12</c:v>
                </c:pt>
                <c:pt idx="310">
                  <c:v>11</c:v>
                </c:pt>
                <c:pt idx="311">
                  <c:v>11</c:v>
                </c:pt>
                <c:pt idx="312">
                  <c:v>11</c:v>
                </c:pt>
                <c:pt idx="313">
                  <c:v>11</c:v>
                </c:pt>
                <c:pt idx="314">
                  <c:v>11</c:v>
                </c:pt>
                <c:pt idx="315">
                  <c:v>11</c:v>
                </c:pt>
                <c:pt idx="316">
                  <c:v>11</c:v>
                </c:pt>
                <c:pt idx="317">
                  <c:v>11</c:v>
                </c:pt>
                <c:pt idx="318">
                  <c:v>11</c:v>
                </c:pt>
                <c:pt idx="319">
                  <c:v>11</c:v>
                </c:pt>
                <c:pt idx="320">
                  <c:v>11</c:v>
                </c:pt>
                <c:pt idx="321">
                  <c:v>11</c:v>
                </c:pt>
                <c:pt idx="322">
                  <c:v>10</c:v>
                </c:pt>
                <c:pt idx="323">
                  <c:v>10</c:v>
                </c:pt>
                <c:pt idx="324">
                  <c:v>10</c:v>
                </c:pt>
                <c:pt idx="325">
                  <c:v>10</c:v>
                </c:pt>
                <c:pt idx="326">
                  <c:v>10</c:v>
                </c:pt>
                <c:pt idx="327">
                  <c:v>10</c:v>
                </c:pt>
                <c:pt idx="328">
                  <c:v>10</c:v>
                </c:pt>
                <c:pt idx="329">
                  <c:v>10</c:v>
                </c:pt>
                <c:pt idx="330">
                  <c:v>10</c:v>
                </c:pt>
                <c:pt idx="331">
                  <c:v>10</c:v>
                </c:pt>
                <c:pt idx="332">
                  <c:v>9</c:v>
                </c:pt>
                <c:pt idx="333">
                  <c:v>9</c:v>
                </c:pt>
                <c:pt idx="334">
                  <c:v>9</c:v>
                </c:pt>
                <c:pt idx="335">
                  <c:v>9</c:v>
                </c:pt>
                <c:pt idx="336">
                  <c:v>8</c:v>
                </c:pt>
                <c:pt idx="337">
                  <c:v>8</c:v>
                </c:pt>
                <c:pt idx="338">
                  <c:v>8</c:v>
                </c:pt>
                <c:pt idx="339">
                  <c:v>8</c:v>
                </c:pt>
                <c:pt idx="340">
                  <c:v>8</c:v>
                </c:pt>
                <c:pt idx="341">
                  <c:v>8</c:v>
                </c:pt>
                <c:pt idx="342">
                  <c:v>8</c:v>
                </c:pt>
                <c:pt idx="343">
                  <c:v>8</c:v>
                </c:pt>
                <c:pt idx="344">
                  <c:v>8</c:v>
                </c:pt>
                <c:pt idx="345">
                  <c:v>8</c:v>
                </c:pt>
                <c:pt idx="346">
                  <c:v>8</c:v>
                </c:pt>
                <c:pt idx="347">
                  <c:v>8</c:v>
                </c:pt>
                <c:pt idx="348">
                  <c:v>8</c:v>
                </c:pt>
                <c:pt idx="349">
                  <c:v>9</c:v>
                </c:pt>
                <c:pt idx="350">
                  <c:v>10</c:v>
                </c:pt>
                <c:pt idx="351">
                  <c:v>10</c:v>
                </c:pt>
                <c:pt idx="352">
                  <c:v>11</c:v>
                </c:pt>
                <c:pt idx="353">
                  <c:v>10</c:v>
                </c:pt>
                <c:pt idx="354">
                  <c:v>10</c:v>
                </c:pt>
                <c:pt idx="355">
                  <c:v>10</c:v>
                </c:pt>
                <c:pt idx="356">
                  <c:v>12</c:v>
                </c:pt>
                <c:pt idx="357">
                  <c:v>12</c:v>
                </c:pt>
                <c:pt idx="358">
                  <c:v>12</c:v>
                </c:pt>
                <c:pt idx="359">
                  <c:v>12</c:v>
                </c:pt>
                <c:pt idx="360">
                  <c:v>12</c:v>
                </c:pt>
                <c:pt idx="361">
                  <c:v>11</c:v>
                </c:pt>
                <c:pt idx="362">
                  <c:v>11</c:v>
                </c:pt>
                <c:pt idx="363">
                  <c:v>11</c:v>
                </c:pt>
                <c:pt idx="364">
                  <c:v>11</c:v>
                </c:pt>
                <c:pt idx="365">
                  <c:v>12</c:v>
                </c:pt>
                <c:pt idx="366">
                  <c:v>16</c:v>
                </c:pt>
                <c:pt idx="367">
                  <c:v>18</c:v>
                </c:pt>
                <c:pt idx="368">
                  <c:v>19</c:v>
                </c:pt>
                <c:pt idx="369">
                  <c:v>18</c:v>
                </c:pt>
                <c:pt idx="370">
                  <c:v>22</c:v>
                </c:pt>
                <c:pt idx="371">
                  <c:v>19</c:v>
                </c:pt>
                <c:pt idx="372">
                  <c:v>19</c:v>
                </c:pt>
                <c:pt idx="373">
                  <c:v>19</c:v>
                </c:pt>
                <c:pt idx="374">
                  <c:v>19</c:v>
                </c:pt>
                <c:pt idx="375">
                  <c:v>19</c:v>
                </c:pt>
                <c:pt idx="376">
                  <c:v>19</c:v>
                </c:pt>
                <c:pt idx="377">
                  <c:v>20</c:v>
                </c:pt>
                <c:pt idx="378">
                  <c:v>20</c:v>
                </c:pt>
                <c:pt idx="379">
                  <c:v>20</c:v>
                </c:pt>
                <c:pt idx="380">
                  <c:v>19</c:v>
                </c:pt>
                <c:pt idx="381">
                  <c:v>17</c:v>
                </c:pt>
                <c:pt idx="382">
                  <c:v>17</c:v>
                </c:pt>
                <c:pt idx="383">
                  <c:v>17</c:v>
                </c:pt>
                <c:pt idx="384">
                  <c:v>18</c:v>
                </c:pt>
                <c:pt idx="385">
                  <c:v>14</c:v>
                </c:pt>
                <c:pt idx="386">
                  <c:v>15</c:v>
                </c:pt>
                <c:pt idx="387">
                  <c:v>13</c:v>
                </c:pt>
                <c:pt idx="388">
                  <c:v>13</c:v>
                </c:pt>
                <c:pt idx="389">
                  <c:v>13</c:v>
                </c:pt>
                <c:pt idx="390">
                  <c:v>13</c:v>
                </c:pt>
                <c:pt idx="391">
                  <c:v>13</c:v>
                </c:pt>
                <c:pt idx="392">
                  <c:v>11</c:v>
                </c:pt>
                <c:pt idx="393">
                  <c:v>11</c:v>
                </c:pt>
                <c:pt idx="394">
                  <c:v>11</c:v>
                </c:pt>
                <c:pt idx="395">
                  <c:v>12</c:v>
                </c:pt>
                <c:pt idx="396">
                  <c:v>13</c:v>
                </c:pt>
                <c:pt idx="397">
                  <c:v>14</c:v>
                </c:pt>
                <c:pt idx="398">
                  <c:v>14</c:v>
                </c:pt>
                <c:pt idx="399">
                  <c:v>15</c:v>
                </c:pt>
                <c:pt idx="400">
                  <c:v>18</c:v>
                </c:pt>
                <c:pt idx="401">
                  <c:v>16</c:v>
                </c:pt>
                <c:pt idx="402">
                  <c:v>19</c:v>
                </c:pt>
                <c:pt idx="403">
                  <c:v>19</c:v>
                </c:pt>
                <c:pt idx="404">
                  <c:v>19</c:v>
                </c:pt>
                <c:pt idx="405">
                  <c:v>20</c:v>
                </c:pt>
                <c:pt idx="406">
                  <c:v>20</c:v>
                </c:pt>
                <c:pt idx="407">
                  <c:v>39</c:v>
                </c:pt>
                <c:pt idx="408">
                  <c:v>39</c:v>
                </c:pt>
                <c:pt idx="409">
                  <c:v>39</c:v>
                </c:pt>
                <c:pt idx="410">
                  <c:v>38</c:v>
                </c:pt>
                <c:pt idx="411">
                  <c:v>38</c:v>
                </c:pt>
                <c:pt idx="412">
                  <c:v>39</c:v>
                </c:pt>
                <c:pt idx="413">
                  <c:v>45</c:v>
                </c:pt>
                <c:pt idx="414">
                  <c:v>43</c:v>
                </c:pt>
                <c:pt idx="415">
                  <c:v>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417</c:f>
              <c:numCache>
                <c:formatCode>m/d/yyyy</c:formatCode>
                <c:ptCount val="4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</c:numCache>
            </c:numRef>
          </c:cat>
          <c:val>
            <c:numRef>
              <c:f>List1!$C$2:$C$417</c:f>
              <c:numCache>
                <c:formatCode>General</c:formatCode>
                <c:ptCount val="416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10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7</c:v>
                </c:pt>
                <c:pt idx="24">
                  <c:v>28</c:v>
                </c:pt>
                <c:pt idx="25">
                  <c:v>32</c:v>
                </c:pt>
                <c:pt idx="26">
                  <c:v>33</c:v>
                </c:pt>
                <c:pt idx="27">
                  <c:v>36</c:v>
                </c:pt>
                <c:pt idx="28">
                  <c:v>54</c:v>
                </c:pt>
                <c:pt idx="29">
                  <c:v>60</c:v>
                </c:pt>
                <c:pt idx="30">
                  <c:v>88</c:v>
                </c:pt>
                <c:pt idx="31">
                  <c:v>173</c:v>
                </c:pt>
                <c:pt idx="32">
                  <c:v>199</c:v>
                </c:pt>
                <c:pt idx="33">
                  <c:v>212</c:v>
                </c:pt>
                <c:pt idx="34">
                  <c:v>282</c:v>
                </c:pt>
                <c:pt idx="35">
                  <c:v>318</c:v>
                </c:pt>
                <c:pt idx="36">
                  <c:v>345</c:v>
                </c:pt>
                <c:pt idx="37">
                  <c:v>425</c:v>
                </c:pt>
                <c:pt idx="38">
                  <c:v>505</c:v>
                </c:pt>
                <c:pt idx="39">
                  <c:v>542</c:v>
                </c:pt>
                <c:pt idx="40">
                  <c:v>557</c:v>
                </c:pt>
                <c:pt idx="41">
                  <c:v>677</c:v>
                </c:pt>
                <c:pt idx="42">
                  <c:v>796</c:v>
                </c:pt>
                <c:pt idx="43">
                  <c:v>960</c:v>
                </c:pt>
                <c:pt idx="44">
                  <c:v>1123</c:v>
                </c:pt>
                <c:pt idx="45">
                  <c:v>1288</c:v>
                </c:pt>
                <c:pt idx="46">
                  <c:v>1354</c:v>
                </c:pt>
                <c:pt idx="47">
                  <c:v>1349</c:v>
                </c:pt>
                <c:pt idx="48">
                  <c:v>1481</c:v>
                </c:pt>
                <c:pt idx="49">
                  <c:v>1620</c:v>
                </c:pt>
                <c:pt idx="50">
                  <c:v>1835</c:v>
                </c:pt>
                <c:pt idx="51">
                  <c:v>1992</c:v>
                </c:pt>
                <c:pt idx="52">
                  <c:v>2249</c:v>
                </c:pt>
                <c:pt idx="53">
                  <c:v>2322</c:v>
                </c:pt>
                <c:pt idx="54">
                  <c:v>2287</c:v>
                </c:pt>
                <c:pt idx="55">
                  <c:v>2441</c:v>
                </c:pt>
                <c:pt idx="56">
                  <c:v>2607</c:v>
                </c:pt>
                <c:pt idx="57">
                  <c:v>2621</c:v>
                </c:pt>
                <c:pt idx="58">
                  <c:v>3013</c:v>
                </c:pt>
                <c:pt idx="59">
                  <c:v>3145</c:v>
                </c:pt>
                <c:pt idx="60">
                  <c:v>3056</c:v>
                </c:pt>
                <c:pt idx="61">
                  <c:v>2896</c:v>
                </c:pt>
                <c:pt idx="62">
                  <c:v>2906</c:v>
                </c:pt>
                <c:pt idx="63">
                  <c:v>2832</c:v>
                </c:pt>
                <c:pt idx="64">
                  <c:v>3014</c:v>
                </c:pt>
                <c:pt idx="65">
                  <c:v>3185</c:v>
                </c:pt>
                <c:pt idx="66">
                  <c:v>3003</c:v>
                </c:pt>
                <c:pt idx="67">
                  <c:v>2753</c:v>
                </c:pt>
                <c:pt idx="68">
                  <c:v>2651</c:v>
                </c:pt>
                <c:pt idx="69">
                  <c:v>2497</c:v>
                </c:pt>
                <c:pt idx="70">
                  <c:v>2352</c:v>
                </c:pt>
                <c:pt idx="71">
                  <c:v>2467</c:v>
                </c:pt>
                <c:pt idx="72">
                  <c:v>2588</c:v>
                </c:pt>
                <c:pt idx="73">
                  <c:v>2489</c:v>
                </c:pt>
                <c:pt idx="74">
                  <c:v>2288</c:v>
                </c:pt>
                <c:pt idx="75">
                  <c:v>2046</c:v>
                </c:pt>
                <c:pt idx="76">
                  <c:v>1997</c:v>
                </c:pt>
                <c:pt idx="77">
                  <c:v>1839</c:v>
                </c:pt>
                <c:pt idx="78">
                  <c:v>1938</c:v>
                </c:pt>
                <c:pt idx="79">
                  <c:v>2007</c:v>
                </c:pt>
                <c:pt idx="80">
                  <c:v>1952</c:v>
                </c:pt>
                <c:pt idx="81">
                  <c:v>1697</c:v>
                </c:pt>
                <c:pt idx="82">
                  <c:v>1513</c:v>
                </c:pt>
                <c:pt idx="83">
                  <c:v>1491</c:v>
                </c:pt>
                <c:pt idx="84">
                  <c:v>1428</c:v>
                </c:pt>
                <c:pt idx="85">
                  <c:v>1450</c:v>
                </c:pt>
                <c:pt idx="86">
                  <c:v>1470</c:v>
                </c:pt>
                <c:pt idx="87">
                  <c:v>1426</c:v>
                </c:pt>
                <c:pt idx="88">
                  <c:v>1387</c:v>
                </c:pt>
                <c:pt idx="89">
                  <c:v>1240</c:v>
                </c:pt>
                <c:pt idx="90">
                  <c:v>1217</c:v>
                </c:pt>
                <c:pt idx="91">
                  <c:v>1210</c:v>
                </c:pt>
                <c:pt idx="92">
                  <c:v>1256</c:v>
                </c:pt>
                <c:pt idx="93">
                  <c:v>1291</c:v>
                </c:pt>
                <c:pt idx="94">
                  <c:v>1222</c:v>
                </c:pt>
                <c:pt idx="95">
                  <c:v>1160</c:v>
                </c:pt>
                <c:pt idx="96">
                  <c:v>1086</c:v>
                </c:pt>
                <c:pt idx="97">
                  <c:v>1146</c:v>
                </c:pt>
                <c:pt idx="98">
                  <c:v>1132</c:v>
                </c:pt>
                <c:pt idx="99">
                  <c:v>1169</c:v>
                </c:pt>
                <c:pt idx="100">
                  <c:v>1216</c:v>
                </c:pt>
                <c:pt idx="101">
                  <c:v>1194</c:v>
                </c:pt>
                <c:pt idx="102">
                  <c:v>1123</c:v>
                </c:pt>
                <c:pt idx="103">
                  <c:v>1080</c:v>
                </c:pt>
                <c:pt idx="104">
                  <c:v>1117</c:v>
                </c:pt>
                <c:pt idx="105">
                  <c:v>1120</c:v>
                </c:pt>
                <c:pt idx="106">
                  <c:v>1187</c:v>
                </c:pt>
                <c:pt idx="107">
                  <c:v>1219</c:v>
                </c:pt>
                <c:pt idx="108">
                  <c:v>1156</c:v>
                </c:pt>
                <c:pt idx="109">
                  <c:v>1100</c:v>
                </c:pt>
                <c:pt idx="110">
                  <c:v>1050</c:v>
                </c:pt>
                <c:pt idx="111">
                  <c:v>1147</c:v>
                </c:pt>
                <c:pt idx="112">
                  <c:v>1190</c:v>
                </c:pt>
                <c:pt idx="113">
                  <c:v>1276</c:v>
                </c:pt>
                <c:pt idx="114">
                  <c:v>1290</c:v>
                </c:pt>
                <c:pt idx="115">
                  <c:v>1234</c:v>
                </c:pt>
                <c:pt idx="116">
                  <c:v>1190</c:v>
                </c:pt>
                <c:pt idx="117">
                  <c:v>1157</c:v>
                </c:pt>
                <c:pt idx="118">
                  <c:v>1267</c:v>
                </c:pt>
                <c:pt idx="119">
                  <c:v>1353</c:v>
                </c:pt>
                <c:pt idx="120">
                  <c:v>1425</c:v>
                </c:pt>
                <c:pt idx="121">
                  <c:v>1490</c:v>
                </c:pt>
                <c:pt idx="122">
                  <c:v>1394</c:v>
                </c:pt>
                <c:pt idx="123">
                  <c:v>1320</c:v>
                </c:pt>
                <c:pt idx="124">
                  <c:v>1252</c:v>
                </c:pt>
                <c:pt idx="125">
                  <c:v>1499</c:v>
                </c:pt>
                <c:pt idx="126">
                  <c:v>1619</c:v>
                </c:pt>
                <c:pt idx="127">
                  <c:v>1691</c:v>
                </c:pt>
                <c:pt idx="128">
                  <c:v>1749</c:v>
                </c:pt>
                <c:pt idx="129">
                  <c:v>1648</c:v>
                </c:pt>
                <c:pt idx="130">
                  <c:v>1533</c:v>
                </c:pt>
                <c:pt idx="131">
                  <c:v>1414</c:v>
                </c:pt>
                <c:pt idx="132">
                  <c:v>1556</c:v>
                </c:pt>
                <c:pt idx="133">
                  <c:v>1639</c:v>
                </c:pt>
                <c:pt idx="134">
                  <c:v>1708</c:v>
                </c:pt>
                <c:pt idx="135">
                  <c:v>1709</c:v>
                </c:pt>
                <c:pt idx="136">
                  <c:v>1565</c:v>
                </c:pt>
                <c:pt idx="137">
                  <c:v>1422</c:v>
                </c:pt>
                <c:pt idx="138">
                  <c:v>1314</c:v>
                </c:pt>
                <c:pt idx="139">
                  <c:v>1309</c:v>
                </c:pt>
                <c:pt idx="140">
                  <c:v>1259</c:v>
                </c:pt>
                <c:pt idx="141">
                  <c:v>1291</c:v>
                </c:pt>
                <c:pt idx="142">
                  <c:v>1317</c:v>
                </c:pt>
                <c:pt idx="143">
                  <c:v>1222</c:v>
                </c:pt>
                <c:pt idx="144">
                  <c:v>1146</c:v>
                </c:pt>
                <c:pt idx="145">
                  <c:v>1036</c:v>
                </c:pt>
                <c:pt idx="146">
                  <c:v>1049</c:v>
                </c:pt>
                <c:pt idx="147">
                  <c:v>1053</c:v>
                </c:pt>
                <c:pt idx="148">
                  <c:v>1078</c:v>
                </c:pt>
                <c:pt idx="149">
                  <c:v>1090</c:v>
                </c:pt>
                <c:pt idx="150">
                  <c:v>1005</c:v>
                </c:pt>
                <c:pt idx="151">
                  <c:v>939</c:v>
                </c:pt>
                <c:pt idx="152">
                  <c:v>861</c:v>
                </c:pt>
                <c:pt idx="153">
                  <c:v>880</c:v>
                </c:pt>
                <c:pt idx="154">
                  <c:v>869</c:v>
                </c:pt>
                <c:pt idx="155">
                  <c:v>903</c:v>
                </c:pt>
                <c:pt idx="156">
                  <c:v>923</c:v>
                </c:pt>
                <c:pt idx="157">
                  <c:v>868</c:v>
                </c:pt>
                <c:pt idx="158">
                  <c:v>798</c:v>
                </c:pt>
                <c:pt idx="159">
                  <c:v>756</c:v>
                </c:pt>
                <c:pt idx="160">
                  <c:v>777</c:v>
                </c:pt>
                <c:pt idx="161">
                  <c:v>745</c:v>
                </c:pt>
                <c:pt idx="162">
                  <c:v>762</c:v>
                </c:pt>
                <c:pt idx="163">
                  <c:v>787</c:v>
                </c:pt>
                <c:pt idx="164">
                  <c:v>749</c:v>
                </c:pt>
                <c:pt idx="165">
                  <c:v>690</c:v>
                </c:pt>
                <c:pt idx="166">
                  <c:v>638</c:v>
                </c:pt>
                <c:pt idx="167">
                  <c:v>655</c:v>
                </c:pt>
                <c:pt idx="168">
                  <c:v>645</c:v>
                </c:pt>
                <c:pt idx="169">
                  <c:v>665</c:v>
                </c:pt>
                <c:pt idx="170">
                  <c:v>679</c:v>
                </c:pt>
                <c:pt idx="171">
                  <c:v>649</c:v>
                </c:pt>
                <c:pt idx="172">
                  <c:v>610</c:v>
                </c:pt>
                <c:pt idx="173">
                  <c:v>583</c:v>
                </c:pt>
                <c:pt idx="174">
                  <c:v>611</c:v>
                </c:pt>
                <c:pt idx="175">
                  <c:v>623</c:v>
                </c:pt>
                <c:pt idx="176">
                  <c:v>639</c:v>
                </c:pt>
                <c:pt idx="177">
                  <c:v>663</c:v>
                </c:pt>
                <c:pt idx="178">
                  <c:v>641</c:v>
                </c:pt>
                <c:pt idx="179">
                  <c:v>592</c:v>
                </c:pt>
                <c:pt idx="180">
                  <c:v>557</c:v>
                </c:pt>
                <c:pt idx="181">
                  <c:v>579</c:v>
                </c:pt>
                <c:pt idx="182">
                  <c:v>573</c:v>
                </c:pt>
                <c:pt idx="183">
                  <c:v>613</c:v>
                </c:pt>
                <c:pt idx="184">
                  <c:v>634</c:v>
                </c:pt>
                <c:pt idx="185">
                  <c:v>584</c:v>
                </c:pt>
                <c:pt idx="186">
                  <c:v>532</c:v>
                </c:pt>
                <c:pt idx="187">
                  <c:v>500</c:v>
                </c:pt>
                <c:pt idx="188">
                  <c:v>517</c:v>
                </c:pt>
                <c:pt idx="189">
                  <c:v>503</c:v>
                </c:pt>
                <c:pt idx="190">
                  <c:v>523</c:v>
                </c:pt>
                <c:pt idx="191">
                  <c:v>537</c:v>
                </c:pt>
                <c:pt idx="192">
                  <c:v>553</c:v>
                </c:pt>
                <c:pt idx="193">
                  <c:v>563</c:v>
                </c:pt>
                <c:pt idx="194">
                  <c:v>569</c:v>
                </c:pt>
                <c:pt idx="195">
                  <c:v>604</c:v>
                </c:pt>
                <c:pt idx="196">
                  <c:v>566</c:v>
                </c:pt>
                <c:pt idx="197">
                  <c:v>542</c:v>
                </c:pt>
                <c:pt idx="198">
                  <c:v>504</c:v>
                </c:pt>
                <c:pt idx="199">
                  <c:v>483</c:v>
                </c:pt>
                <c:pt idx="200">
                  <c:v>450</c:v>
                </c:pt>
                <c:pt idx="201">
                  <c:v>445</c:v>
                </c:pt>
                <c:pt idx="202">
                  <c:v>465</c:v>
                </c:pt>
                <c:pt idx="203">
                  <c:v>420</c:v>
                </c:pt>
                <c:pt idx="204">
                  <c:v>395</c:v>
                </c:pt>
                <c:pt idx="205">
                  <c:v>367</c:v>
                </c:pt>
                <c:pt idx="206">
                  <c:v>355</c:v>
                </c:pt>
                <c:pt idx="207">
                  <c:v>332</c:v>
                </c:pt>
                <c:pt idx="208">
                  <c:v>324</c:v>
                </c:pt>
                <c:pt idx="209">
                  <c:v>330</c:v>
                </c:pt>
                <c:pt idx="210">
                  <c:v>315</c:v>
                </c:pt>
                <c:pt idx="211">
                  <c:v>288</c:v>
                </c:pt>
                <c:pt idx="212">
                  <c:v>278</c:v>
                </c:pt>
                <c:pt idx="213">
                  <c:v>253</c:v>
                </c:pt>
                <c:pt idx="214">
                  <c:v>237</c:v>
                </c:pt>
                <c:pt idx="215">
                  <c:v>236</c:v>
                </c:pt>
                <c:pt idx="216">
                  <c:v>238</c:v>
                </c:pt>
                <c:pt idx="217">
                  <c:v>223</c:v>
                </c:pt>
                <c:pt idx="218">
                  <c:v>215</c:v>
                </c:pt>
                <c:pt idx="219">
                  <c:v>213</c:v>
                </c:pt>
                <c:pt idx="220">
                  <c:v>206</c:v>
                </c:pt>
                <c:pt idx="221">
                  <c:v>191</c:v>
                </c:pt>
                <c:pt idx="222">
                  <c:v>187</c:v>
                </c:pt>
                <c:pt idx="223">
                  <c:v>192</c:v>
                </c:pt>
                <c:pt idx="224">
                  <c:v>168</c:v>
                </c:pt>
                <c:pt idx="225">
                  <c:v>161</c:v>
                </c:pt>
                <c:pt idx="226">
                  <c:v>154</c:v>
                </c:pt>
                <c:pt idx="227">
                  <c:v>151</c:v>
                </c:pt>
                <c:pt idx="228">
                  <c:v>150</c:v>
                </c:pt>
                <c:pt idx="229">
                  <c:v>147</c:v>
                </c:pt>
                <c:pt idx="230">
                  <c:v>155</c:v>
                </c:pt>
                <c:pt idx="231">
                  <c:v>149</c:v>
                </c:pt>
                <c:pt idx="232">
                  <c:v>125</c:v>
                </c:pt>
                <c:pt idx="233">
                  <c:v>107</c:v>
                </c:pt>
                <c:pt idx="234">
                  <c:v>99</c:v>
                </c:pt>
                <c:pt idx="235">
                  <c:v>92</c:v>
                </c:pt>
                <c:pt idx="236">
                  <c:v>90</c:v>
                </c:pt>
                <c:pt idx="237">
                  <c:v>92</c:v>
                </c:pt>
                <c:pt idx="238">
                  <c:v>87</c:v>
                </c:pt>
                <c:pt idx="239">
                  <c:v>82</c:v>
                </c:pt>
                <c:pt idx="240">
                  <c:v>78</c:v>
                </c:pt>
                <c:pt idx="241">
                  <c:v>74</c:v>
                </c:pt>
                <c:pt idx="242">
                  <c:v>71</c:v>
                </c:pt>
                <c:pt idx="243">
                  <c:v>70</c:v>
                </c:pt>
                <c:pt idx="244">
                  <c:v>72</c:v>
                </c:pt>
                <c:pt idx="245">
                  <c:v>61</c:v>
                </c:pt>
                <c:pt idx="246">
                  <c:v>57</c:v>
                </c:pt>
                <c:pt idx="247">
                  <c:v>57</c:v>
                </c:pt>
                <c:pt idx="248">
                  <c:v>55</c:v>
                </c:pt>
                <c:pt idx="249">
                  <c:v>50</c:v>
                </c:pt>
                <c:pt idx="250">
                  <c:v>48</c:v>
                </c:pt>
                <c:pt idx="251">
                  <c:v>49</c:v>
                </c:pt>
                <c:pt idx="252">
                  <c:v>45</c:v>
                </c:pt>
                <c:pt idx="253">
                  <c:v>41</c:v>
                </c:pt>
                <c:pt idx="254">
                  <c:v>41</c:v>
                </c:pt>
                <c:pt idx="255">
                  <c:v>41</c:v>
                </c:pt>
                <c:pt idx="256">
                  <c:v>38</c:v>
                </c:pt>
                <c:pt idx="257">
                  <c:v>38</c:v>
                </c:pt>
                <c:pt idx="258">
                  <c:v>39</c:v>
                </c:pt>
                <c:pt idx="259">
                  <c:v>40</c:v>
                </c:pt>
                <c:pt idx="260">
                  <c:v>36</c:v>
                </c:pt>
                <c:pt idx="261">
                  <c:v>37</c:v>
                </c:pt>
                <c:pt idx="262">
                  <c:v>36</c:v>
                </c:pt>
                <c:pt idx="263">
                  <c:v>33</c:v>
                </c:pt>
                <c:pt idx="264">
                  <c:v>33</c:v>
                </c:pt>
                <c:pt idx="265">
                  <c:v>34</c:v>
                </c:pt>
                <c:pt idx="266">
                  <c:v>32</c:v>
                </c:pt>
                <c:pt idx="267">
                  <c:v>29</c:v>
                </c:pt>
                <c:pt idx="268">
                  <c:v>27</c:v>
                </c:pt>
                <c:pt idx="269">
                  <c:v>25</c:v>
                </c:pt>
                <c:pt idx="270">
                  <c:v>23</c:v>
                </c:pt>
                <c:pt idx="271">
                  <c:v>23</c:v>
                </c:pt>
                <c:pt idx="272">
                  <c:v>22</c:v>
                </c:pt>
                <c:pt idx="273">
                  <c:v>19</c:v>
                </c:pt>
                <c:pt idx="274">
                  <c:v>16</c:v>
                </c:pt>
                <c:pt idx="275">
                  <c:v>15</c:v>
                </c:pt>
                <c:pt idx="276">
                  <c:v>14</c:v>
                </c:pt>
                <c:pt idx="277">
                  <c:v>14</c:v>
                </c:pt>
                <c:pt idx="278">
                  <c:v>14</c:v>
                </c:pt>
                <c:pt idx="279">
                  <c:v>13</c:v>
                </c:pt>
                <c:pt idx="280">
                  <c:v>11</c:v>
                </c:pt>
                <c:pt idx="281">
                  <c:v>9</c:v>
                </c:pt>
                <c:pt idx="282">
                  <c:v>9</c:v>
                </c:pt>
                <c:pt idx="283">
                  <c:v>9</c:v>
                </c:pt>
                <c:pt idx="284">
                  <c:v>9</c:v>
                </c:pt>
                <c:pt idx="285">
                  <c:v>9</c:v>
                </c:pt>
                <c:pt idx="286">
                  <c:v>9</c:v>
                </c:pt>
                <c:pt idx="287">
                  <c:v>9</c:v>
                </c:pt>
                <c:pt idx="288">
                  <c:v>9</c:v>
                </c:pt>
                <c:pt idx="289">
                  <c:v>8</c:v>
                </c:pt>
                <c:pt idx="290">
                  <c:v>8</c:v>
                </c:pt>
                <c:pt idx="291">
                  <c:v>8</c:v>
                </c:pt>
                <c:pt idx="292">
                  <c:v>8</c:v>
                </c:pt>
                <c:pt idx="293">
                  <c:v>8</c:v>
                </c:pt>
                <c:pt idx="294">
                  <c:v>8</c:v>
                </c:pt>
                <c:pt idx="295">
                  <c:v>8</c:v>
                </c:pt>
                <c:pt idx="296">
                  <c:v>8</c:v>
                </c:pt>
                <c:pt idx="297">
                  <c:v>7</c:v>
                </c:pt>
                <c:pt idx="298">
                  <c:v>7</c:v>
                </c:pt>
                <c:pt idx="299">
                  <c:v>7</c:v>
                </c:pt>
                <c:pt idx="300">
                  <c:v>7</c:v>
                </c:pt>
                <c:pt idx="301">
                  <c:v>7</c:v>
                </c:pt>
                <c:pt idx="302">
                  <c:v>8</c:v>
                </c:pt>
                <c:pt idx="303">
                  <c:v>8</c:v>
                </c:pt>
                <c:pt idx="304">
                  <c:v>8</c:v>
                </c:pt>
                <c:pt idx="305">
                  <c:v>8</c:v>
                </c:pt>
                <c:pt idx="306">
                  <c:v>8</c:v>
                </c:pt>
                <c:pt idx="307">
                  <c:v>8</c:v>
                </c:pt>
                <c:pt idx="308">
                  <c:v>8</c:v>
                </c:pt>
                <c:pt idx="309">
                  <c:v>8</c:v>
                </c:pt>
                <c:pt idx="310">
                  <c:v>8</c:v>
                </c:pt>
                <c:pt idx="311">
                  <c:v>8</c:v>
                </c:pt>
                <c:pt idx="312">
                  <c:v>8</c:v>
                </c:pt>
                <c:pt idx="313">
                  <c:v>9</c:v>
                </c:pt>
                <c:pt idx="314">
                  <c:v>9</c:v>
                </c:pt>
                <c:pt idx="315">
                  <c:v>9</c:v>
                </c:pt>
                <c:pt idx="316">
                  <c:v>9</c:v>
                </c:pt>
                <c:pt idx="317">
                  <c:v>9</c:v>
                </c:pt>
                <c:pt idx="318">
                  <c:v>8</c:v>
                </c:pt>
                <c:pt idx="319">
                  <c:v>8</c:v>
                </c:pt>
                <c:pt idx="320">
                  <c:v>8</c:v>
                </c:pt>
                <c:pt idx="321">
                  <c:v>8</c:v>
                </c:pt>
                <c:pt idx="322">
                  <c:v>8</c:v>
                </c:pt>
                <c:pt idx="323">
                  <c:v>9</c:v>
                </c:pt>
                <c:pt idx="324">
                  <c:v>8</c:v>
                </c:pt>
                <c:pt idx="325">
                  <c:v>8</c:v>
                </c:pt>
                <c:pt idx="326">
                  <c:v>7</c:v>
                </c:pt>
                <c:pt idx="327">
                  <c:v>7</c:v>
                </c:pt>
                <c:pt idx="328">
                  <c:v>6</c:v>
                </c:pt>
                <c:pt idx="329">
                  <c:v>6</c:v>
                </c:pt>
                <c:pt idx="330">
                  <c:v>8</c:v>
                </c:pt>
                <c:pt idx="331">
                  <c:v>8</c:v>
                </c:pt>
                <c:pt idx="332">
                  <c:v>8</c:v>
                </c:pt>
                <c:pt idx="333">
                  <c:v>8</c:v>
                </c:pt>
                <c:pt idx="334">
                  <c:v>8</c:v>
                </c:pt>
                <c:pt idx="335">
                  <c:v>8</c:v>
                </c:pt>
                <c:pt idx="336">
                  <c:v>8</c:v>
                </c:pt>
                <c:pt idx="337">
                  <c:v>8</c:v>
                </c:pt>
                <c:pt idx="338">
                  <c:v>7</c:v>
                </c:pt>
                <c:pt idx="339">
                  <c:v>7</c:v>
                </c:pt>
                <c:pt idx="340">
                  <c:v>7</c:v>
                </c:pt>
                <c:pt idx="341">
                  <c:v>8</c:v>
                </c:pt>
                <c:pt idx="342">
                  <c:v>8</c:v>
                </c:pt>
                <c:pt idx="343">
                  <c:v>7</c:v>
                </c:pt>
                <c:pt idx="344">
                  <c:v>7</c:v>
                </c:pt>
                <c:pt idx="345">
                  <c:v>7</c:v>
                </c:pt>
                <c:pt idx="346">
                  <c:v>7</c:v>
                </c:pt>
                <c:pt idx="347">
                  <c:v>7</c:v>
                </c:pt>
                <c:pt idx="348">
                  <c:v>7</c:v>
                </c:pt>
                <c:pt idx="349">
                  <c:v>7</c:v>
                </c:pt>
                <c:pt idx="350">
                  <c:v>6</c:v>
                </c:pt>
                <c:pt idx="351">
                  <c:v>6</c:v>
                </c:pt>
                <c:pt idx="352">
                  <c:v>6</c:v>
                </c:pt>
                <c:pt idx="353">
                  <c:v>6</c:v>
                </c:pt>
                <c:pt idx="354">
                  <c:v>6</c:v>
                </c:pt>
                <c:pt idx="355">
                  <c:v>6</c:v>
                </c:pt>
                <c:pt idx="356">
                  <c:v>7</c:v>
                </c:pt>
                <c:pt idx="357">
                  <c:v>7</c:v>
                </c:pt>
                <c:pt idx="358">
                  <c:v>7</c:v>
                </c:pt>
                <c:pt idx="359">
                  <c:v>7</c:v>
                </c:pt>
                <c:pt idx="360">
                  <c:v>8</c:v>
                </c:pt>
                <c:pt idx="361">
                  <c:v>8</c:v>
                </c:pt>
                <c:pt idx="362">
                  <c:v>8</c:v>
                </c:pt>
                <c:pt idx="363">
                  <c:v>8</c:v>
                </c:pt>
                <c:pt idx="364">
                  <c:v>8</c:v>
                </c:pt>
                <c:pt idx="365">
                  <c:v>10</c:v>
                </c:pt>
                <c:pt idx="366">
                  <c:v>11</c:v>
                </c:pt>
                <c:pt idx="367">
                  <c:v>12</c:v>
                </c:pt>
                <c:pt idx="368">
                  <c:v>12</c:v>
                </c:pt>
                <c:pt idx="369">
                  <c:v>12</c:v>
                </c:pt>
                <c:pt idx="370">
                  <c:v>13</c:v>
                </c:pt>
                <c:pt idx="371">
                  <c:v>14</c:v>
                </c:pt>
                <c:pt idx="372">
                  <c:v>15</c:v>
                </c:pt>
                <c:pt idx="373">
                  <c:v>16</c:v>
                </c:pt>
                <c:pt idx="374">
                  <c:v>16</c:v>
                </c:pt>
                <c:pt idx="375">
                  <c:v>15</c:v>
                </c:pt>
                <c:pt idx="376">
                  <c:v>13</c:v>
                </c:pt>
                <c:pt idx="377">
                  <c:v>13</c:v>
                </c:pt>
                <c:pt idx="378">
                  <c:v>14</c:v>
                </c:pt>
                <c:pt idx="379">
                  <c:v>13</c:v>
                </c:pt>
                <c:pt idx="380">
                  <c:v>13</c:v>
                </c:pt>
                <c:pt idx="381">
                  <c:v>12</c:v>
                </c:pt>
                <c:pt idx="382">
                  <c:v>10</c:v>
                </c:pt>
                <c:pt idx="383">
                  <c:v>10</c:v>
                </c:pt>
                <c:pt idx="384">
                  <c:v>14</c:v>
                </c:pt>
                <c:pt idx="385">
                  <c:v>16</c:v>
                </c:pt>
                <c:pt idx="386">
                  <c:v>16</c:v>
                </c:pt>
                <c:pt idx="387">
                  <c:v>16</c:v>
                </c:pt>
                <c:pt idx="388">
                  <c:v>16</c:v>
                </c:pt>
                <c:pt idx="389">
                  <c:v>17</c:v>
                </c:pt>
                <c:pt idx="390">
                  <c:v>17</c:v>
                </c:pt>
                <c:pt idx="391">
                  <c:v>22</c:v>
                </c:pt>
                <c:pt idx="392">
                  <c:v>24</c:v>
                </c:pt>
                <c:pt idx="393">
                  <c:v>28</c:v>
                </c:pt>
                <c:pt idx="394">
                  <c:v>28</c:v>
                </c:pt>
                <c:pt idx="395">
                  <c:v>29</c:v>
                </c:pt>
                <c:pt idx="396">
                  <c:v>28</c:v>
                </c:pt>
                <c:pt idx="397">
                  <c:v>27</c:v>
                </c:pt>
                <c:pt idx="398">
                  <c:v>28</c:v>
                </c:pt>
                <c:pt idx="399">
                  <c:v>27</c:v>
                </c:pt>
                <c:pt idx="400">
                  <c:v>27</c:v>
                </c:pt>
                <c:pt idx="401">
                  <c:v>28</c:v>
                </c:pt>
                <c:pt idx="402">
                  <c:v>30</c:v>
                </c:pt>
                <c:pt idx="403">
                  <c:v>31</c:v>
                </c:pt>
                <c:pt idx="404">
                  <c:v>29</c:v>
                </c:pt>
                <c:pt idx="405">
                  <c:v>32</c:v>
                </c:pt>
                <c:pt idx="406">
                  <c:v>28</c:v>
                </c:pt>
                <c:pt idx="407">
                  <c:v>28</c:v>
                </c:pt>
                <c:pt idx="408">
                  <c:v>24</c:v>
                </c:pt>
                <c:pt idx="409">
                  <c:v>26</c:v>
                </c:pt>
                <c:pt idx="410">
                  <c:v>27</c:v>
                </c:pt>
                <c:pt idx="411">
                  <c:v>27</c:v>
                </c:pt>
                <c:pt idx="412">
                  <c:v>34</c:v>
                </c:pt>
                <c:pt idx="413">
                  <c:v>38</c:v>
                </c:pt>
                <c:pt idx="414">
                  <c:v>45</c:v>
                </c:pt>
                <c:pt idx="415">
                  <c:v>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417</c:f>
              <c:numCache>
                <c:formatCode>m/d/yyyy</c:formatCode>
                <c:ptCount val="4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</c:numCache>
            </c:numRef>
          </c:cat>
          <c:val>
            <c:numRef>
              <c:f>List1!$D$2:$D$417</c:f>
              <c:numCache>
                <c:formatCode>General</c:formatCode>
                <c:ptCount val="416"/>
                <c:pt idx="0">
                  <c:v>7</c:v>
                </c:pt>
                <c:pt idx="1">
                  <c:v>6</c:v>
                </c:pt>
                <c:pt idx="2">
                  <c:v>6</c:v>
                </c:pt>
                <c:pt idx="3">
                  <c:v>9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8</c:v>
                </c:pt>
                <c:pt idx="8">
                  <c:v>10</c:v>
                </c:pt>
                <c:pt idx="9">
                  <c:v>9</c:v>
                </c:pt>
                <c:pt idx="10">
                  <c:v>9</c:v>
                </c:pt>
                <c:pt idx="11">
                  <c:v>12</c:v>
                </c:pt>
                <c:pt idx="12">
                  <c:v>3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10</c:v>
                </c:pt>
                <c:pt idx="18">
                  <c:v>9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4</c:v>
                </c:pt>
                <c:pt idx="23">
                  <c:v>21</c:v>
                </c:pt>
                <c:pt idx="24">
                  <c:v>30</c:v>
                </c:pt>
                <c:pt idx="25">
                  <c:v>39</c:v>
                </c:pt>
                <c:pt idx="26">
                  <c:v>40</c:v>
                </c:pt>
                <c:pt idx="27">
                  <c:v>43</c:v>
                </c:pt>
                <c:pt idx="28">
                  <c:v>65</c:v>
                </c:pt>
                <c:pt idx="29">
                  <c:v>98</c:v>
                </c:pt>
                <c:pt idx="30">
                  <c:v>154</c:v>
                </c:pt>
                <c:pt idx="31">
                  <c:v>292</c:v>
                </c:pt>
                <c:pt idx="32">
                  <c:v>353</c:v>
                </c:pt>
                <c:pt idx="33">
                  <c:v>418</c:v>
                </c:pt>
                <c:pt idx="34">
                  <c:v>615</c:v>
                </c:pt>
                <c:pt idx="35">
                  <c:v>723</c:v>
                </c:pt>
                <c:pt idx="36">
                  <c:v>788</c:v>
                </c:pt>
                <c:pt idx="37">
                  <c:v>936</c:v>
                </c:pt>
                <c:pt idx="38">
                  <c:v>1148</c:v>
                </c:pt>
                <c:pt idx="39">
                  <c:v>1205</c:v>
                </c:pt>
                <c:pt idx="40">
                  <c:v>1187</c:v>
                </c:pt>
                <c:pt idx="41">
                  <c:v>1420</c:v>
                </c:pt>
                <c:pt idx="42">
                  <c:v>1709</c:v>
                </c:pt>
                <c:pt idx="43">
                  <c:v>2003</c:v>
                </c:pt>
                <c:pt idx="44">
                  <c:v>2331</c:v>
                </c:pt>
                <c:pt idx="45">
                  <c:v>2623</c:v>
                </c:pt>
                <c:pt idx="46">
                  <c:v>2767</c:v>
                </c:pt>
                <c:pt idx="47">
                  <c:v>2716</c:v>
                </c:pt>
                <c:pt idx="48">
                  <c:v>3018</c:v>
                </c:pt>
                <c:pt idx="49">
                  <c:v>3266</c:v>
                </c:pt>
                <c:pt idx="50">
                  <c:v>3759</c:v>
                </c:pt>
                <c:pt idx="51">
                  <c:v>4071</c:v>
                </c:pt>
                <c:pt idx="52">
                  <c:v>4614</c:v>
                </c:pt>
                <c:pt idx="53">
                  <c:v>4769</c:v>
                </c:pt>
                <c:pt idx="54">
                  <c:v>4776</c:v>
                </c:pt>
                <c:pt idx="55">
                  <c:v>5110</c:v>
                </c:pt>
                <c:pt idx="56">
                  <c:v>5605</c:v>
                </c:pt>
                <c:pt idx="57">
                  <c:v>5644</c:v>
                </c:pt>
                <c:pt idx="58">
                  <c:v>6472</c:v>
                </c:pt>
                <c:pt idx="59">
                  <c:v>6900</c:v>
                </c:pt>
                <c:pt idx="60">
                  <c:v>6898</c:v>
                </c:pt>
                <c:pt idx="61">
                  <c:v>6633</c:v>
                </c:pt>
                <c:pt idx="62">
                  <c:v>6704</c:v>
                </c:pt>
                <c:pt idx="63">
                  <c:v>6560</c:v>
                </c:pt>
                <c:pt idx="64">
                  <c:v>6953</c:v>
                </c:pt>
                <c:pt idx="65">
                  <c:v>7453</c:v>
                </c:pt>
                <c:pt idx="66">
                  <c:v>7129</c:v>
                </c:pt>
                <c:pt idx="67">
                  <c:v>6530</c:v>
                </c:pt>
                <c:pt idx="68">
                  <c:v>6347</c:v>
                </c:pt>
                <c:pt idx="69">
                  <c:v>5947</c:v>
                </c:pt>
                <c:pt idx="70">
                  <c:v>5683</c:v>
                </c:pt>
                <c:pt idx="71">
                  <c:v>6214</c:v>
                </c:pt>
                <c:pt idx="72">
                  <c:v>6717</c:v>
                </c:pt>
                <c:pt idx="73">
                  <c:v>6665</c:v>
                </c:pt>
                <c:pt idx="74">
                  <c:v>6121</c:v>
                </c:pt>
                <c:pt idx="75">
                  <c:v>5766</c:v>
                </c:pt>
                <c:pt idx="76">
                  <c:v>5729</c:v>
                </c:pt>
                <c:pt idx="77">
                  <c:v>5358</c:v>
                </c:pt>
                <c:pt idx="78">
                  <c:v>5648</c:v>
                </c:pt>
                <c:pt idx="79">
                  <c:v>5867</c:v>
                </c:pt>
                <c:pt idx="80">
                  <c:v>5868</c:v>
                </c:pt>
                <c:pt idx="81">
                  <c:v>5233</c:v>
                </c:pt>
                <c:pt idx="82">
                  <c:v>4773</c:v>
                </c:pt>
                <c:pt idx="83">
                  <c:v>4876</c:v>
                </c:pt>
                <c:pt idx="84">
                  <c:v>4528</c:v>
                </c:pt>
                <c:pt idx="85">
                  <c:v>4542</c:v>
                </c:pt>
                <c:pt idx="86">
                  <c:v>4657</c:v>
                </c:pt>
                <c:pt idx="87">
                  <c:v>4377</c:v>
                </c:pt>
                <c:pt idx="88">
                  <c:v>4306</c:v>
                </c:pt>
                <c:pt idx="89">
                  <c:v>3899</c:v>
                </c:pt>
                <c:pt idx="90">
                  <c:v>3780</c:v>
                </c:pt>
                <c:pt idx="91">
                  <c:v>3587</c:v>
                </c:pt>
                <c:pt idx="92">
                  <c:v>3665</c:v>
                </c:pt>
                <c:pt idx="93">
                  <c:v>3760</c:v>
                </c:pt>
                <c:pt idx="94">
                  <c:v>3576</c:v>
                </c:pt>
                <c:pt idx="95">
                  <c:v>3347</c:v>
                </c:pt>
                <c:pt idx="96">
                  <c:v>3120</c:v>
                </c:pt>
                <c:pt idx="97">
                  <c:v>3132</c:v>
                </c:pt>
                <c:pt idx="98">
                  <c:v>2972</c:v>
                </c:pt>
                <c:pt idx="99">
                  <c:v>3064</c:v>
                </c:pt>
                <c:pt idx="100">
                  <c:v>3162</c:v>
                </c:pt>
                <c:pt idx="101">
                  <c:v>3127</c:v>
                </c:pt>
                <c:pt idx="102">
                  <c:v>2965</c:v>
                </c:pt>
                <c:pt idx="103">
                  <c:v>2876</c:v>
                </c:pt>
                <c:pt idx="104">
                  <c:v>2917</c:v>
                </c:pt>
                <c:pt idx="105">
                  <c:v>2902</c:v>
                </c:pt>
                <c:pt idx="106">
                  <c:v>2970</c:v>
                </c:pt>
                <c:pt idx="107">
                  <c:v>3006</c:v>
                </c:pt>
                <c:pt idx="108">
                  <c:v>2984</c:v>
                </c:pt>
                <c:pt idx="109">
                  <c:v>2796</c:v>
                </c:pt>
                <c:pt idx="110">
                  <c:v>2681</c:v>
                </c:pt>
                <c:pt idx="111">
                  <c:v>2826</c:v>
                </c:pt>
                <c:pt idx="112">
                  <c:v>2880</c:v>
                </c:pt>
                <c:pt idx="113">
                  <c:v>2990</c:v>
                </c:pt>
                <c:pt idx="114">
                  <c:v>2970</c:v>
                </c:pt>
                <c:pt idx="115">
                  <c:v>2811</c:v>
                </c:pt>
                <c:pt idx="116">
                  <c:v>2741</c:v>
                </c:pt>
                <c:pt idx="117">
                  <c:v>2708</c:v>
                </c:pt>
                <c:pt idx="118">
                  <c:v>2862</c:v>
                </c:pt>
                <c:pt idx="119">
                  <c:v>2996</c:v>
                </c:pt>
                <c:pt idx="120">
                  <c:v>3165</c:v>
                </c:pt>
                <c:pt idx="121">
                  <c:v>3312</c:v>
                </c:pt>
                <c:pt idx="122">
                  <c:v>3081</c:v>
                </c:pt>
                <c:pt idx="123">
                  <c:v>2974</c:v>
                </c:pt>
                <c:pt idx="124">
                  <c:v>2739</c:v>
                </c:pt>
                <c:pt idx="125">
                  <c:v>3215</c:v>
                </c:pt>
                <c:pt idx="126">
                  <c:v>3423</c:v>
                </c:pt>
                <c:pt idx="127">
                  <c:v>3585</c:v>
                </c:pt>
                <c:pt idx="128">
                  <c:v>3784</c:v>
                </c:pt>
                <c:pt idx="129">
                  <c:v>3685</c:v>
                </c:pt>
                <c:pt idx="130">
                  <c:v>3435</c:v>
                </c:pt>
                <c:pt idx="131">
                  <c:v>3167</c:v>
                </c:pt>
                <c:pt idx="132">
                  <c:v>3451</c:v>
                </c:pt>
                <c:pt idx="133">
                  <c:v>3599</c:v>
                </c:pt>
                <c:pt idx="134">
                  <c:v>3772</c:v>
                </c:pt>
                <c:pt idx="135">
                  <c:v>3818</c:v>
                </c:pt>
                <c:pt idx="136">
                  <c:v>3589</c:v>
                </c:pt>
                <c:pt idx="137">
                  <c:v>3251</c:v>
                </c:pt>
                <c:pt idx="138">
                  <c:v>2987</c:v>
                </c:pt>
                <c:pt idx="139">
                  <c:v>2921</c:v>
                </c:pt>
                <c:pt idx="140">
                  <c:v>2757</c:v>
                </c:pt>
                <c:pt idx="141">
                  <c:v>2874</c:v>
                </c:pt>
                <c:pt idx="142">
                  <c:v>2970</c:v>
                </c:pt>
                <c:pt idx="143">
                  <c:v>2745</c:v>
                </c:pt>
                <c:pt idx="144">
                  <c:v>2604</c:v>
                </c:pt>
                <c:pt idx="145">
                  <c:v>2393</c:v>
                </c:pt>
                <c:pt idx="146">
                  <c:v>2368</c:v>
                </c:pt>
                <c:pt idx="147">
                  <c:v>2318</c:v>
                </c:pt>
                <c:pt idx="148">
                  <c:v>2392</c:v>
                </c:pt>
                <c:pt idx="149">
                  <c:v>2438</c:v>
                </c:pt>
                <c:pt idx="150">
                  <c:v>2211</c:v>
                </c:pt>
                <c:pt idx="151">
                  <c:v>2103</c:v>
                </c:pt>
                <c:pt idx="152">
                  <c:v>1889</c:v>
                </c:pt>
                <c:pt idx="153">
                  <c:v>1935</c:v>
                </c:pt>
                <c:pt idx="154">
                  <c:v>1947</c:v>
                </c:pt>
                <c:pt idx="155">
                  <c:v>2036</c:v>
                </c:pt>
                <c:pt idx="156">
                  <c:v>2084</c:v>
                </c:pt>
                <c:pt idx="157">
                  <c:v>2001</c:v>
                </c:pt>
                <c:pt idx="158">
                  <c:v>1869</c:v>
                </c:pt>
                <c:pt idx="159">
                  <c:v>1774</c:v>
                </c:pt>
                <c:pt idx="160">
                  <c:v>1808</c:v>
                </c:pt>
                <c:pt idx="161">
                  <c:v>1770</c:v>
                </c:pt>
                <c:pt idx="162">
                  <c:v>1829</c:v>
                </c:pt>
                <c:pt idx="163">
                  <c:v>1900</c:v>
                </c:pt>
                <c:pt idx="164">
                  <c:v>1826</c:v>
                </c:pt>
                <c:pt idx="165">
                  <c:v>1646</c:v>
                </c:pt>
                <c:pt idx="166">
                  <c:v>1501</c:v>
                </c:pt>
                <c:pt idx="167">
                  <c:v>1498</c:v>
                </c:pt>
                <c:pt idx="168">
                  <c:v>1404</c:v>
                </c:pt>
                <c:pt idx="169">
                  <c:v>1403</c:v>
                </c:pt>
                <c:pt idx="170">
                  <c:v>1431</c:v>
                </c:pt>
                <c:pt idx="171">
                  <c:v>1342</c:v>
                </c:pt>
                <c:pt idx="172">
                  <c:v>1242</c:v>
                </c:pt>
                <c:pt idx="173">
                  <c:v>1143</c:v>
                </c:pt>
                <c:pt idx="174">
                  <c:v>1216</c:v>
                </c:pt>
                <c:pt idx="175">
                  <c:v>1202</c:v>
                </c:pt>
                <c:pt idx="176">
                  <c:v>1230</c:v>
                </c:pt>
                <c:pt idx="177">
                  <c:v>1284</c:v>
                </c:pt>
                <c:pt idx="178">
                  <c:v>1250</c:v>
                </c:pt>
                <c:pt idx="179">
                  <c:v>1168</c:v>
                </c:pt>
                <c:pt idx="180">
                  <c:v>1114</c:v>
                </c:pt>
                <c:pt idx="181">
                  <c:v>1183</c:v>
                </c:pt>
                <c:pt idx="182">
                  <c:v>1143</c:v>
                </c:pt>
                <c:pt idx="183">
                  <c:v>1190</c:v>
                </c:pt>
                <c:pt idx="184">
                  <c:v>1203</c:v>
                </c:pt>
                <c:pt idx="185">
                  <c:v>1085</c:v>
                </c:pt>
                <c:pt idx="186">
                  <c:v>1003</c:v>
                </c:pt>
                <c:pt idx="187">
                  <c:v>928</c:v>
                </c:pt>
                <c:pt idx="188">
                  <c:v>940</c:v>
                </c:pt>
                <c:pt idx="189">
                  <c:v>940</c:v>
                </c:pt>
                <c:pt idx="190">
                  <c:v>1001</c:v>
                </c:pt>
                <c:pt idx="191">
                  <c:v>1014</c:v>
                </c:pt>
                <c:pt idx="192">
                  <c:v>1051</c:v>
                </c:pt>
                <c:pt idx="193">
                  <c:v>1058</c:v>
                </c:pt>
                <c:pt idx="194">
                  <c:v>1064</c:v>
                </c:pt>
                <c:pt idx="195">
                  <c:v>1120</c:v>
                </c:pt>
                <c:pt idx="196">
                  <c:v>1019</c:v>
                </c:pt>
                <c:pt idx="197">
                  <c:v>973</c:v>
                </c:pt>
                <c:pt idx="198">
                  <c:v>921</c:v>
                </c:pt>
                <c:pt idx="199">
                  <c:v>901</c:v>
                </c:pt>
                <c:pt idx="200">
                  <c:v>847</c:v>
                </c:pt>
                <c:pt idx="201">
                  <c:v>840</c:v>
                </c:pt>
                <c:pt idx="202">
                  <c:v>865</c:v>
                </c:pt>
                <c:pt idx="203">
                  <c:v>820</c:v>
                </c:pt>
                <c:pt idx="204">
                  <c:v>762</c:v>
                </c:pt>
                <c:pt idx="205">
                  <c:v>731</c:v>
                </c:pt>
                <c:pt idx="206">
                  <c:v>701</c:v>
                </c:pt>
                <c:pt idx="207">
                  <c:v>644</c:v>
                </c:pt>
                <c:pt idx="208">
                  <c:v>635</c:v>
                </c:pt>
                <c:pt idx="209">
                  <c:v>653</c:v>
                </c:pt>
                <c:pt idx="210">
                  <c:v>605</c:v>
                </c:pt>
                <c:pt idx="211">
                  <c:v>569</c:v>
                </c:pt>
                <c:pt idx="212">
                  <c:v>545</c:v>
                </c:pt>
                <c:pt idx="213">
                  <c:v>491</c:v>
                </c:pt>
                <c:pt idx="214">
                  <c:v>465</c:v>
                </c:pt>
                <c:pt idx="215">
                  <c:v>463</c:v>
                </c:pt>
                <c:pt idx="216">
                  <c:v>463</c:v>
                </c:pt>
                <c:pt idx="217">
                  <c:v>418</c:v>
                </c:pt>
                <c:pt idx="218">
                  <c:v>405</c:v>
                </c:pt>
                <c:pt idx="219">
                  <c:v>390</c:v>
                </c:pt>
                <c:pt idx="220">
                  <c:v>354</c:v>
                </c:pt>
                <c:pt idx="221">
                  <c:v>334</c:v>
                </c:pt>
                <c:pt idx="222">
                  <c:v>329</c:v>
                </c:pt>
                <c:pt idx="223">
                  <c:v>334</c:v>
                </c:pt>
                <c:pt idx="224">
                  <c:v>299</c:v>
                </c:pt>
                <c:pt idx="225">
                  <c:v>270</c:v>
                </c:pt>
                <c:pt idx="226">
                  <c:v>253</c:v>
                </c:pt>
                <c:pt idx="227">
                  <c:v>236</c:v>
                </c:pt>
                <c:pt idx="228">
                  <c:v>233</c:v>
                </c:pt>
                <c:pt idx="229">
                  <c:v>231</c:v>
                </c:pt>
                <c:pt idx="230">
                  <c:v>243</c:v>
                </c:pt>
                <c:pt idx="231">
                  <c:v>231</c:v>
                </c:pt>
                <c:pt idx="232">
                  <c:v>200</c:v>
                </c:pt>
                <c:pt idx="233">
                  <c:v>181</c:v>
                </c:pt>
                <c:pt idx="234">
                  <c:v>174</c:v>
                </c:pt>
                <c:pt idx="235">
                  <c:v>162</c:v>
                </c:pt>
                <c:pt idx="236">
                  <c:v>159</c:v>
                </c:pt>
                <c:pt idx="237">
                  <c:v>161</c:v>
                </c:pt>
                <c:pt idx="238">
                  <c:v>154</c:v>
                </c:pt>
                <c:pt idx="239">
                  <c:v>147</c:v>
                </c:pt>
                <c:pt idx="240">
                  <c:v>142</c:v>
                </c:pt>
                <c:pt idx="241">
                  <c:v>138</c:v>
                </c:pt>
                <c:pt idx="242">
                  <c:v>129</c:v>
                </c:pt>
                <c:pt idx="243">
                  <c:v>128</c:v>
                </c:pt>
                <c:pt idx="244">
                  <c:v>130</c:v>
                </c:pt>
                <c:pt idx="245">
                  <c:v>116</c:v>
                </c:pt>
                <c:pt idx="246">
                  <c:v>108</c:v>
                </c:pt>
                <c:pt idx="247">
                  <c:v>102</c:v>
                </c:pt>
                <c:pt idx="248">
                  <c:v>99</c:v>
                </c:pt>
                <c:pt idx="249">
                  <c:v>88</c:v>
                </c:pt>
                <c:pt idx="250">
                  <c:v>89</c:v>
                </c:pt>
                <c:pt idx="251">
                  <c:v>94</c:v>
                </c:pt>
                <c:pt idx="252">
                  <c:v>90</c:v>
                </c:pt>
                <c:pt idx="253">
                  <c:v>83</c:v>
                </c:pt>
                <c:pt idx="254">
                  <c:v>81</c:v>
                </c:pt>
                <c:pt idx="255">
                  <c:v>81</c:v>
                </c:pt>
                <c:pt idx="256">
                  <c:v>76</c:v>
                </c:pt>
                <c:pt idx="257">
                  <c:v>75</c:v>
                </c:pt>
                <c:pt idx="258">
                  <c:v>78</c:v>
                </c:pt>
                <c:pt idx="259">
                  <c:v>75</c:v>
                </c:pt>
                <c:pt idx="260">
                  <c:v>73</c:v>
                </c:pt>
                <c:pt idx="261">
                  <c:v>71</c:v>
                </c:pt>
                <c:pt idx="262">
                  <c:v>70</c:v>
                </c:pt>
                <c:pt idx="263">
                  <c:v>66</c:v>
                </c:pt>
                <c:pt idx="264">
                  <c:v>65</c:v>
                </c:pt>
                <c:pt idx="265">
                  <c:v>67</c:v>
                </c:pt>
                <c:pt idx="266">
                  <c:v>64</c:v>
                </c:pt>
                <c:pt idx="267">
                  <c:v>60</c:v>
                </c:pt>
                <c:pt idx="268">
                  <c:v>56</c:v>
                </c:pt>
                <c:pt idx="269">
                  <c:v>53</c:v>
                </c:pt>
                <c:pt idx="270">
                  <c:v>51</c:v>
                </c:pt>
                <c:pt idx="271">
                  <c:v>48</c:v>
                </c:pt>
                <c:pt idx="272">
                  <c:v>46</c:v>
                </c:pt>
                <c:pt idx="273">
                  <c:v>42</c:v>
                </c:pt>
                <c:pt idx="274">
                  <c:v>42</c:v>
                </c:pt>
                <c:pt idx="275">
                  <c:v>37</c:v>
                </c:pt>
                <c:pt idx="276">
                  <c:v>32</c:v>
                </c:pt>
                <c:pt idx="277">
                  <c:v>31</c:v>
                </c:pt>
                <c:pt idx="278">
                  <c:v>31</c:v>
                </c:pt>
                <c:pt idx="279">
                  <c:v>30</c:v>
                </c:pt>
                <c:pt idx="280">
                  <c:v>28</c:v>
                </c:pt>
                <c:pt idx="281">
                  <c:v>25</c:v>
                </c:pt>
                <c:pt idx="282">
                  <c:v>24</c:v>
                </c:pt>
                <c:pt idx="283">
                  <c:v>25</c:v>
                </c:pt>
                <c:pt idx="284">
                  <c:v>22</c:v>
                </c:pt>
                <c:pt idx="285">
                  <c:v>22</c:v>
                </c:pt>
                <c:pt idx="286">
                  <c:v>22</c:v>
                </c:pt>
                <c:pt idx="287">
                  <c:v>22</c:v>
                </c:pt>
                <c:pt idx="288">
                  <c:v>22</c:v>
                </c:pt>
                <c:pt idx="289">
                  <c:v>21</c:v>
                </c:pt>
                <c:pt idx="290">
                  <c:v>21</c:v>
                </c:pt>
                <c:pt idx="291">
                  <c:v>21</c:v>
                </c:pt>
                <c:pt idx="292">
                  <c:v>21</c:v>
                </c:pt>
                <c:pt idx="293">
                  <c:v>21</c:v>
                </c:pt>
                <c:pt idx="294">
                  <c:v>21</c:v>
                </c:pt>
                <c:pt idx="295">
                  <c:v>22</c:v>
                </c:pt>
                <c:pt idx="296">
                  <c:v>22</c:v>
                </c:pt>
                <c:pt idx="297">
                  <c:v>20</c:v>
                </c:pt>
                <c:pt idx="298">
                  <c:v>20</c:v>
                </c:pt>
                <c:pt idx="299">
                  <c:v>20</c:v>
                </c:pt>
                <c:pt idx="300">
                  <c:v>20</c:v>
                </c:pt>
                <c:pt idx="301">
                  <c:v>20</c:v>
                </c:pt>
                <c:pt idx="302">
                  <c:v>20</c:v>
                </c:pt>
                <c:pt idx="303">
                  <c:v>21</c:v>
                </c:pt>
                <c:pt idx="304">
                  <c:v>19</c:v>
                </c:pt>
                <c:pt idx="305">
                  <c:v>19</c:v>
                </c:pt>
                <c:pt idx="306">
                  <c:v>20</c:v>
                </c:pt>
                <c:pt idx="307">
                  <c:v>20</c:v>
                </c:pt>
                <c:pt idx="308">
                  <c:v>20</c:v>
                </c:pt>
                <c:pt idx="309">
                  <c:v>20</c:v>
                </c:pt>
                <c:pt idx="310">
                  <c:v>19</c:v>
                </c:pt>
                <c:pt idx="311">
                  <c:v>19</c:v>
                </c:pt>
                <c:pt idx="312">
                  <c:v>19</c:v>
                </c:pt>
                <c:pt idx="313">
                  <c:v>20</c:v>
                </c:pt>
                <c:pt idx="314">
                  <c:v>20</c:v>
                </c:pt>
                <c:pt idx="315">
                  <c:v>20</c:v>
                </c:pt>
                <c:pt idx="316">
                  <c:v>20</c:v>
                </c:pt>
                <c:pt idx="317">
                  <c:v>20</c:v>
                </c:pt>
                <c:pt idx="318">
                  <c:v>19</c:v>
                </c:pt>
                <c:pt idx="319">
                  <c:v>19</c:v>
                </c:pt>
                <c:pt idx="320">
                  <c:v>19</c:v>
                </c:pt>
                <c:pt idx="321">
                  <c:v>19</c:v>
                </c:pt>
                <c:pt idx="322">
                  <c:v>18</c:v>
                </c:pt>
                <c:pt idx="323">
                  <c:v>19</c:v>
                </c:pt>
                <c:pt idx="324">
                  <c:v>18</c:v>
                </c:pt>
                <c:pt idx="325">
                  <c:v>18</c:v>
                </c:pt>
                <c:pt idx="326">
                  <c:v>17</c:v>
                </c:pt>
                <c:pt idx="327">
                  <c:v>17</c:v>
                </c:pt>
                <c:pt idx="328">
                  <c:v>16</c:v>
                </c:pt>
                <c:pt idx="329">
                  <c:v>16</c:v>
                </c:pt>
                <c:pt idx="330">
                  <c:v>18</c:v>
                </c:pt>
                <c:pt idx="331">
                  <c:v>18</c:v>
                </c:pt>
                <c:pt idx="332">
                  <c:v>17</c:v>
                </c:pt>
                <c:pt idx="333">
                  <c:v>17</c:v>
                </c:pt>
                <c:pt idx="334">
                  <c:v>17</c:v>
                </c:pt>
                <c:pt idx="335">
                  <c:v>17</c:v>
                </c:pt>
                <c:pt idx="336">
                  <c:v>16</c:v>
                </c:pt>
                <c:pt idx="337">
                  <c:v>16</c:v>
                </c:pt>
                <c:pt idx="338">
                  <c:v>15</c:v>
                </c:pt>
                <c:pt idx="339">
                  <c:v>15</c:v>
                </c:pt>
                <c:pt idx="340">
                  <c:v>15</c:v>
                </c:pt>
                <c:pt idx="341">
                  <c:v>16</c:v>
                </c:pt>
                <c:pt idx="342">
                  <c:v>16</c:v>
                </c:pt>
                <c:pt idx="343">
                  <c:v>15</c:v>
                </c:pt>
                <c:pt idx="344">
                  <c:v>15</c:v>
                </c:pt>
                <c:pt idx="345">
                  <c:v>15</c:v>
                </c:pt>
                <c:pt idx="346">
                  <c:v>15</c:v>
                </c:pt>
                <c:pt idx="347">
                  <c:v>15</c:v>
                </c:pt>
                <c:pt idx="348">
                  <c:v>15</c:v>
                </c:pt>
                <c:pt idx="349">
                  <c:v>16</c:v>
                </c:pt>
                <c:pt idx="350">
                  <c:v>16</c:v>
                </c:pt>
                <c:pt idx="351">
                  <c:v>16</c:v>
                </c:pt>
                <c:pt idx="352">
                  <c:v>17</c:v>
                </c:pt>
                <c:pt idx="353">
                  <c:v>16</c:v>
                </c:pt>
                <c:pt idx="354">
                  <c:v>16</c:v>
                </c:pt>
                <c:pt idx="355">
                  <c:v>16</c:v>
                </c:pt>
                <c:pt idx="356">
                  <c:v>19</c:v>
                </c:pt>
                <c:pt idx="357">
                  <c:v>19</c:v>
                </c:pt>
                <c:pt idx="358">
                  <c:v>19</c:v>
                </c:pt>
                <c:pt idx="359">
                  <c:v>19</c:v>
                </c:pt>
                <c:pt idx="360">
                  <c:v>20</c:v>
                </c:pt>
                <c:pt idx="361">
                  <c:v>19</c:v>
                </c:pt>
                <c:pt idx="362">
                  <c:v>19</c:v>
                </c:pt>
                <c:pt idx="363">
                  <c:v>19</c:v>
                </c:pt>
                <c:pt idx="364">
                  <c:v>19</c:v>
                </c:pt>
                <c:pt idx="365">
                  <c:v>22</c:v>
                </c:pt>
                <c:pt idx="366">
                  <c:v>27</c:v>
                </c:pt>
                <c:pt idx="367">
                  <c:v>30</c:v>
                </c:pt>
                <c:pt idx="368">
                  <c:v>31</c:v>
                </c:pt>
                <c:pt idx="369">
                  <c:v>30</c:v>
                </c:pt>
                <c:pt idx="370">
                  <c:v>35</c:v>
                </c:pt>
                <c:pt idx="371">
                  <c:v>33</c:v>
                </c:pt>
                <c:pt idx="372">
                  <c:v>34</c:v>
                </c:pt>
                <c:pt idx="373">
                  <c:v>35</c:v>
                </c:pt>
                <c:pt idx="374">
                  <c:v>35</c:v>
                </c:pt>
                <c:pt idx="375">
                  <c:v>34</c:v>
                </c:pt>
                <c:pt idx="376">
                  <c:v>32</c:v>
                </c:pt>
                <c:pt idx="377">
                  <c:v>33</c:v>
                </c:pt>
                <c:pt idx="378">
                  <c:v>34</c:v>
                </c:pt>
                <c:pt idx="379">
                  <c:v>33</c:v>
                </c:pt>
                <c:pt idx="380">
                  <c:v>32</c:v>
                </c:pt>
                <c:pt idx="381">
                  <c:v>29</c:v>
                </c:pt>
                <c:pt idx="382">
                  <c:v>27</c:v>
                </c:pt>
                <c:pt idx="383">
                  <c:v>27</c:v>
                </c:pt>
                <c:pt idx="384">
                  <c:v>32</c:v>
                </c:pt>
                <c:pt idx="385">
                  <c:v>30</c:v>
                </c:pt>
                <c:pt idx="386">
                  <c:v>31</c:v>
                </c:pt>
                <c:pt idx="387">
                  <c:v>29</c:v>
                </c:pt>
                <c:pt idx="388">
                  <c:v>29</c:v>
                </c:pt>
                <c:pt idx="389">
                  <c:v>30</c:v>
                </c:pt>
                <c:pt idx="390">
                  <c:v>30</c:v>
                </c:pt>
                <c:pt idx="391">
                  <c:v>35</c:v>
                </c:pt>
                <c:pt idx="392">
                  <c:v>35</c:v>
                </c:pt>
                <c:pt idx="393">
                  <c:v>39</c:v>
                </c:pt>
                <c:pt idx="394">
                  <c:v>39</c:v>
                </c:pt>
                <c:pt idx="395">
                  <c:v>41</c:v>
                </c:pt>
                <c:pt idx="396">
                  <c:v>41</c:v>
                </c:pt>
                <c:pt idx="397">
                  <c:v>41</c:v>
                </c:pt>
                <c:pt idx="398">
                  <c:v>42</c:v>
                </c:pt>
                <c:pt idx="399">
                  <c:v>42</c:v>
                </c:pt>
                <c:pt idx="400">
                  <c:v>45</c:v>
                </c:pt>
                <c:pt idx="401">
                  <c:v>44</c:v>
                </c:pt>
                <c:pt idx="402">
                  <c:v>49</c:v>
                </c:pt>
                <c:pt idx="403">
                  <c:v>50</c:v>
                </c:pt>
                <c:pt idx="404">
                  <c:v>48</c:v>
                </c:pt>
                <c:pt idx="405">
                  <c:v>52</c:v>
                </c:pt>
                <c:pt idx="406">
                  <c:v>48</c:v>
                </c:pt>
                <c:pt idx="407">
                  <c:v>67</c:v>
                </c:pt>
                <c:pt idx="408">
                  <c:v>63</c:v>
                </c:pt>
                <c:pt idx="409">
                  <c:v>65</c:v>
                </c:pt>
                <c:pt idx="410">
                  <c:v>65</c:v>
                </c:pt>
                <c:pt idx="411">
                  <c:v>65</c:v>
                </c:pt>
                <c:pt idx="412">
                  <c:v>73</c:v>
                </c:pt>
                <c:pt idx="413">
                  <c:v>83</c:v>
                </c:pt>
                <c:pt idx="414">
                  <c:v>88</c:v>
                </c:pt>
                <c:pt idx="415">
                  <c:v>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očet klientů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1</c:f>
              <c:numCache>
                <c:formatCode>General</c:formatCode>
                <c:ptCount val="100"/>
                <c:pt idx="0">
                  <c:v>6</c:v>
                </c:pt>
                <c:pt idx="1">
                  <c:v>7</c:v>
                </c:pt>
                <c:pt idx="2">
                  <c:v>8</c:v>
                </c:pt>
                <c:pt idx="3">
                  <c:v>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  <c:pt idx="15">
                  <c:v>21</c:v>
                </c:pt>
                <c:pt idx="16">
                  <c:v>22</c:v>
                </c:pt>
                <c:pt idx="17">
                  <c:v>23</c:v>
                </c:pt>
                <c:pt idx="18">
                  <c:v>24</c:v>
                </c:pt>
                <c:pt idx="19">
                  <c:v>25</c:v>
                </c:pt>
                <c:pt idx="20">
                  <c:v>26</c:v>
                </c:pt>
                <c:pt idx="21">
                  <c:v>27</c:v>
                </c:pt>
                <c:pt idx="22">
                  <c:v>28</c:v>
                </c:pt>
                <c:pt idx="23">
                  <c:v>29</c:v>
                </c:pt>
                <c:pt idx="24">
                  <c:v>30</c:v>
                </c:pt>
                <c:pt idx="25">
                  <c:v>31</c:v>
                </c:pt>
                <c:pt idx="26">
                  <c:v>32</c:v>
                </c:pt>
                <c:pt idx="27">
                  <c:v>33</c:v>
                </c:pt>
                <c:pt idx="28">
                  <c:v>34</c:v>
                </c:pt>
                <c:pt idx="29">
                  <c:v>35</c:v>
                </c:pt>
                <c:pt idx="30">
                  <c:v>36</c:v>
                </c:pt>
                <c:pt idx="31">
                  <c:v>37</c:v>
                </c:pt>
                <c:pt idx="32">
                  <c:v>38</c:v>
                </c:pt>
                <c:pt idx="33">
                  <c:v>39</c:v>
                </c:pt>
                <c:pt idx="34">
                  <c:v>40</c:v>
                </c:pt>
                <c:pt idx="35">
                  <c:v>41</c:v>
                </c:pt>
                <c:pt idx="36">
                  <c:v>42</c:v>
                </c:pt>
                <c:pt idx="37">
                  <c:v>43</c:v>
                </c:pt>
                <c:pt idx="38">
                  <c:v>44</c:v>
                </c:pt>
                <c:pt idx="39">
                  <c:v>45</c:v>
                </c:pt>
                <c:pt idx="40">
                  <c:v>46</c:v>
                </c:pt>
                <c:pt idx="41">
                  <c:v>47</c:v>
                </c:pt>
                <c:pt idx="42">
                  <c:v>48</c:v>
                </c:pt>
                <c:pt idx="43">
                  <c:v>49</c:v>
                </c:pt>
                <c:pt idx="44">
                  <c:v>50</c:v>
                </c:pt>
                <c:pt idx="45">
                  <c:v>51</c:v>
                </c:pt>
                <c:pt idx="46">
                  <c:v>52</c:v>
                </c:pt>
                <c:pt idx="47">
                  <c:v>53</c:v>
                </c:pt>
                <c:pt idx="48">
                  <c:v>54</c:v>
                </c:pt>
                <c:pt idx="49">
                  <c:v>55</c:v>
                </c:pt>
                <c:pt idx="50">
                  <c:v>56</c:v>
                </c:pt>
                <c:pt idx="51">
                  <c:v>57</c:v>
                </c:pt>
                <c:pt idx="52">
                  <c:v>58</c:v>
                </c:pt>
                <c:pt idx="53">
                  <c:v>59</c:v>
                </c:pt>
                <c:pt idx="54">
                  <c:v>60</c:v>
                </c:pt>
                <c:pt idx="55">
                  <c:v>61</c:v>
                </c:pt>
                <c:pt idx="56">
                  <c:v>62</c:v>
                </c:pt>
                <c:pt idx="57">
                  <c:v>63</c:v>
                </c:pt>
                <c:pt idx="58">
                  <c:v>64</c:v>
                </c:pt>
                <c:pt idx="59">
                  <c:v>65</c:v>
                </c:pt>
                <c:pt idx="60">
                  <c:v>66</c:v>
                </c:pt>
                <c:pt idx="61">
                  <c:v>67</c:v>
                </c:pt>
                <c:pt idx="62">
                  <c:v>68</c:v>
                </c:pt>
                <c:pt idx="63">
                  <c:v>69</c:v>
                </c:pt>
                <c:pt idx="64">
                  <c:v>70</c:v>
                </c:pt>
                <c:pt idx="65">
                  <c:v>71</c:v>
                </c:pt>
                <c:pt idx="66">
                  <c:v>72</c:v>
                </c:pt>
                <c:pt idx="67">
                  <c:v>73</c:v>
                </c:pt>
                <c:pt idx="68">
                  <c:v>74</c:v>
                </c:pt>
                <c:pt idx="69">
                  <c:v>75</c:v>
                </c:pt>
                <c:pt idx="70">
                  <c:v>76</c:v>
                </c:pt>
                <c:pt idx="71">
                  <c:v>77</c:v>
                </c:pt>
                <c:pt idx="72">
                  <c:v>78</c:v>
                </c:pt>
                <c:pt idx="73">
                  <c:v>79</c:v>
                </c:pt>
                <c:pt idx="74">
                  <c:v>80</c:v>
                </c:pt>
                <c:pt idx="75">
                  <c:v>81</c:v>
                </c:pt>
                <c:pt idx="76">
                  <c:v>82</c:v>
                </c:pt>
                <c:pt idx="77">
                  <c:v>83</c:v>
                </c:pt>
                <c:pt idx="78">
                  <c:v>84</c:v>
                </c:pt>
                <c:pt idx="79">
                  <c:v>85</c:v>
                </c:pt>
                <c:pt idx="80">
                  <c:v>86</c:v>
                </c:pt>
                <c:pt idx="81">
                  <c:v>87</c:v>
                </c:pt>
                <c:pt idx="82">
                  <c:v>88</c:v>
                </c:pt>
                <c:pt idx="83">
                  <c:v>89</c:v>
                </c:pt>
                <c:pt idx="84">
                  <c:v>90</c:v>
                </c:pt>
                <c:pt idx="85">
                  <c:v>91</c:v>
                </c:pt>
                <c:pt idx="86">
                  <c:v>92</c:v>
                </c:pt>
                <c:pt idx="87">
                  <c:v>93</c:v>
                </c:pt>
                <c:pt idx="88">
                  <c:v>94</c:v>
                </c:pt>
                <c:pt idx="89">
                  <c:v>95</c:v>
                </c:pt>
                <c:pt idx="90">
                  <c:v>96</c:v>
                </c:pt>
                <c:pt idx="91">
                  <c:v>97</c:v>
                </c:pt>
                <c:pt idx="92">
                  <c:v>98</c:v>
                </c:pt>
                <c:pt idx="93">
                  <c:v>99</c:v>
                </c:pt>
                <c:pt idx="94">
                  <c:v>100</c:v>
                </c:pt>
                <c:pt idx="95">
                  <c:v>101</c:v>
                </c:pt>
                <c:pt idx="96">
                  <c:v>102</c:v>
                </c:pt>
                <c:pt idx="97">
                  <c:v>103</c:v>
                </c:pt>
                <c:pt idx="98">
                  <c:v>104</c:v>
                </c:pt>
                <c:pt idx="99">
                  <c:v>107</c:v>
                </c:pt>
              </c:numCache>
            </c:numRef>
          </c:cat>
          <c:val>
            <c:numRef>
              <c:f>List1!$B$2:$B$101</c:f>
              <c:numCache>
                <c:formatCode>General</c:formatCode>
                <c:ptCount val="10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0</c:v>
                </c:pt>
                <c:pt idx="33">
                  <c:v>1</c:v>
                </c:pt>
                <c:pt idx="34">
                  <c:v>0</c:v>
                </c:pt>
                <c:pt idx="35">
                  <c:v>3</c:v>
                </c:pt>
                <c:pt idx="36">
                  <c:v>1</c:v>
                </c:pt>
                <c:pt idx="37">
                  <c:v>2</c:v>
                </c:pt>
                <c:pt idx="38">
                  <c:v>0</c:v>
                </c:pt>
                <c:pt idx="39">
                  <c:v>2</c:v>
                </c:pt>
                <c:pt idx="40">
                  <c:v>2</c:v>
                </c:pt>
                <c:pt idx="41">
                  <c:v>0</c:v>
                </c:pt>
                <c:pt idx="42">
                  <c:v>1</c:v>
                </c:pt>
                <c:pt idx="43">
                  <c:v>2</c:v>
                </c:pt>
                <c:pt idx="44">
                  <c:v>5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5</c:v>
                </c:pt>
                <c:pt idx="49">
                  <c:v>2</c:v>
                </c:pt>
                <c:pt idx="50">
                  <c:v>2</c:v>
                </c:pt>
                <c:pt idx="51">
                  <c:v>6</c:v>
                </c:pt>
                <c:pt idx="52">
                  <c:v>3</c:v>
                </c:pt>
                <c:pt idx="53">
                  <c:v>10</c:v>
                </c:pt>
                <c:pt idx="54">
                  <c:v>10</c:v>
                </c:pt>
                <c:pt idx="55">
                  <c:v>16</c:v>
                </c:pt>
                <c:pt idx="56">
                  <c:v>8</c:v>
                </c:pt>
                <c:pt idx="57">
                  <c:v>16</c:v>
                </c:pt>
                <c:pt idx="58">
                  <c:v>19</c:v>
                </c:pt>
                <c:pt idx="59">
                  <c:v>20</c:v>
                </c:pt>
                <c:pt idx="60">
                  <c:v>20</c:v>
                </c:pt>
                <c:pt idx="61">
                  <c:v>30</c:v>
                </c:pt>
                <c:pt idx="62">
                  <c:v>29</c:v>
                </c:pt>
                <c:pt idx="63">
                  <c:v>38</c:v>
                </c:pt>
                <c:pt idx="64">
                  <c:v>45</c:v>
                </c:pt>
                <c:pt idx="65">
                  <c:v>33</c:v>
                </c:pt>
                <c:pt idx="66">
                  <c:v>48</c:v>
                </c:pt>
                <c:pt idx="67">
                  <c:v>60</c:v>
                </c:pt>
                <c:pt idx="68">
                  <c:v>71</c:v>
                </c:pt>
                <c:pt idx="69">
                  <c:v>59</c:v>
                </c:pt>
                <c:pt idx="70">
                  <c:v>77</c:v>
                </c:pt>
                <c:pt idx="71">
                  <c:v>76</c:v>
                </c:pt>
                <c:pt idx="72">
                  <c:v>97</c:v>
                </c:pt>
                <c:pt idx="73">
                  <c:v>106</c:v>
                </c:pt>
                <c:pt idx="74">
                  <c:v>105</c:v>
                </c:pt>
                <c:pt idx="75">
                  <c:v>119</c:v>
                </c:pt>
                <c:pt idx="76">
                  <c:v>99</c:v>
                </c:pt>
                <c:pt idx="77">
                  <c:v>123</c:v>
                </c:pt>
                <c:pt idx="78">
                  <c:v>132</c:v>
                </c:pt>
                <c:pt idx="79">
                  <c:v>143</c:v>
                </c:pt>
                <c:pt idx="80">
                  <c:v>171</c:v>
                </c:pt>
                <c:pt idx="81">
                  <c:v>151</c:v>
                </c:pt>
                <c:pt idx="82">
                  <c:v>193</c:v>
                </c:pt>
                <c:pt idx="83">
                  <c:v>187</c:v>
                </c:pt>
                <c:pt idx="84">
                  <c:v>170</c:v>
                </c:pt>
                <c:pt idx="85">
                  <c:v>173</c:v>
                </c:pt>
                <c:pt idx="86">
                  <c:v>147</c:v>
                </c:pt>
                <c:pt idx="87">
                  <c:v>99</c:v>
                </c:pt>
                <c:pt idx="88">
                  <c:v>88</c:v>
                </c:pt>
                <c:pt idx="89">
                  <c:v>59</c:v>
                </c:pt>
                <c:pt idx="90">
                  <c:v>57</c:v>
                </c:pt>
                <c:pt idx="91">
                  <c:v>49</c:v>
                </c:pt>
                <c:pt idx="92">
                  <c:v>29</c:v>
                </c:pt>
                <c:pt idx="93">
                  <c:v>21</c:v>
                </c:pt>
                <c:pt idx="94">
                  <c:v>8</c:v>
                </c:pt>
                <c:pt idx="95">
                  <c:v>4</c:v>
                </c:pt>
                <c:pt idx="96">
                  <c:v>0</c:v>
                </c:pt>
                <c:pt idx="97">
                  <c:v>0</c:v>
                </c:pt>
                <c:pt idx="98">
                  <c:v>1</c:v>
                </c:pt>
                <c:pt idx="9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1</c:f>
              <c:numCache>
                <c:formatCode>General</c:formatCode>
                <c:ptCount val="100"/>
                <c:pt idx="0">
                  <c:v>6</c:v>
                </c:pt>
                <c:pt idx="1">
                  <c:v>7</c:v>
                </c:pt>
                <c:pt idx="2">
                  <c:v>8</c:v>
                </c:pt>
                <c:pt idx="3">
                  <c:v>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  <c:pt idx="15">
                  <c:v>21</c:v>
                </c:pt>
                <c:pt idx="16">
                  <c:v>22</c:v>
                </c:pt>
                <c:pt idx="17">
                  <c:v>23</c:v>
                </c:pt>
                <c:pt idx="18">
                  <c:v>24</c:v>
                </c:pt>
                <c:pt idx="19">
                  <c:v>25</c:v>
                </c:pt>
                <c:pt idx="20">
                  <c:v>26</c:v>
                </c:pt>
                <c:pt idx="21">
                  <c:v>27</c:v>
                </c:pt>
                <c:pt idx="22">
                  <c:v>28</c:v>
                </c:pt>
                <c:pt idx="23">
                  <c:v>29</c:v>
                </c:pt>
                <c:pt idx="24">
                  <c:v>30</c:v>
                </c:pt>
                <c:pt idx="25">
                  <c:v>31</c:v>
                </c:pt>
                <c:pt idx="26">
                  <c:v>32</c:v>
                </c:pt>
                <c:pt idx="27">
                  <c:v>33</c:v>
                </c:pt>
                <c:pt idx="28">
                  <c:v>34</c:v>
                </c:pt>
                <c:pt idx="29">
                  <c:v>35</c:v>
                </c:pt>
                <c:pt idx="30">
                  <c:v>36</c:v>
                </c:pt>
                <c:pt idx="31">
                  <c:v>37</c:v>
                </c:pt>
                <c:pt idx="32">
                  <c:v>38</c:v>
                </c:pt>
                <c:pt idx="33">
                  <c:v>39</c:v>
                </c:pt>
                <c:pt idx="34">
                  <c:v>40</c:v>
                </c:pt>
                <c:pt idx="35">
                  <c:v>41</c:v>
                </c:pt>
                <c:pt idx="36">
                  <c:v>42</c:v>
                </c:pt>
                <c:pt idx="37">
                  <c:v>43</c:v>
                </c:pt>
                <c:pt idx="38">
                  <c:v>44</c:v>
                </c:pt>
                <c:pt idx="39">
                  <c:v>45</c:v>
                </c:pt>
                <c:pt idx="40">
                  <c:v>46</c:v>
                </c:pt>
                <c:pt idx="41">
                  <c:v>47</c:v>
                </c:pt>
                <c:pt idx="42">
                  <c:v>48</c:v>
                </c:pt>
                <c:pt idx="43">
                  <c:v>49</c:v>
                </c:pt>
                <c:pt idx="44">
                  <c:v>50</c:v>
                </c:pt>
                <c:pt idx="45">
                  <c:v>51</c:v>
                </c:pt>
                <c:pt idx="46">
                  <c:v>52</c:v>
                </c:pt>
                <c:pt idx="47">
                  <c:v>53</c:v>
                </c:pt>
                <c:pt idx="48">
                  <c:v>54</c:v>
                </c:pt>
                <c:pt idx="49">
                  <c:v>55</c:v>
                </c:pt>
                <c:pt idx="50">
                  <c:v>56</c:v>
                </c:pt>
                <c:pt idx="51">
                  <c:v>57</c:v>
                </c:pt>
                <c:pt idx="52">
                  <c:v>58</c:v>
                </c:pt>
                <c:pt idx="53">
                  <c:v>59</c:v>
                </c:pt>
                <c:pt idx="54">
                  <c:v>60</c:v>
                </c:pt>
                <c:pt idx="55">
                  <c:v>61</c:v>
                </c:pt>
                <c:pt idx="56">
                  <c:v>62</c:v>
                </c:pt>
                <c:pt idx="57">
                  <c:v>63</c:v>
                </c:pt>
                <c:pt idx="58">
                  <c:v>64</c:v>
                </c:pt>
                <c:pt idx="59">
                  <c:v>65</c:v>
                </c:pt>
                <c:pt idx="60">
                  <c:v>66</c:v>
                </c:pt>
                <c:pt idx="61">
                  <c:v>67</c:v>
                </c:pt>
                <c:pt idx="62">
                  <c:v>68</c:v>
                </c:pt>
                <c:pt idx="63">
                  <c:v>69</c:v>
                </c:pt>
                <c:pt idx="64">
                  <c:v>70</c:v>
                </c:pt>
                <c:pt idx="65">
                  <c:v>71</c:v>
                </c:pt>
                <c:pt idx="66">
                  <c:v>72</c:v>
                </c:pt>
                <c:pt idx="67">
                  <c:v>73</c:v>
                </c:pt>
                <c:pt idx="68">
                  <c:v>74</c:v>
                </c:pt>
                <c:pt idx="69">
                  <c:v>75</c:v>
                </c:pt>
                <c:pt idx="70">
                  <c:v>76</c:v>
                </c:pt>
                <c:pt idx="71">
                  <c:v>77</c:v>
                </c:pt>
                <c:pt idx="72">
                  <c:v>78</c:v>
                </c:pt>
                <c:pt idx="73">
                  <c:v>79</c:v>
                </c:pt>
                <c:pt idx="74">
                  <c:v>80</c:v>
                </c:pt>
                <c:pt idx="75">
                  <c:v>81</c:v>
                </c:pt>
                <c:pt idx="76">
                  <c:v>82</c:v>
                </c:pt>
                <c:pt idx="77">
                  <c:v>83</c:v>
                </c:pt>
                <c:pt idx="78">
                  <c:v>84</c:v>
                </c:pt>
                <c:pt idx="79">
                  <c:v>85</c:v>
                </c:pt>
                <c:pt idx="80">
                  <c:v>86</c:v>
                </c:pt>
                <c:pt idx="81">
                  <c:v>87</c:v>
                </c:pt>
                <c:pt idx="82">
                  <c:v>88</c:v>
                </c:pt>
                <c:pt idx="83">
                  <c:v>89</c:v>
                </c:pt>
                <c:pt idx="84">
                  <c:v>90</c:v>
                </c:pt>
                <c:pt idx="85">
                  <c:v>91</c:v>
                </c:pt>
                <c:pt idx="86">
                  <c:v>92</c:v>
                </c:pt>
                <c:pt idx="87">
                  <c:v>93</c:v>
                </c:pt>
                <c:pt idx="88">
                  <c:v>94</c:v>
                </c:pt>
                <c:pt idx="89">
                  <c:v>95</c:v>
                </c:pt>
                <c:pt idx="90">
                  <c:v>96</c:v>
                </c:pt>
                <c:pt idx="91">
                  <c:v>97</c:v>
                </c:pt>
                <c:pt idx="92">
                  <c:v>98</c:v>
                </c:pt>
                <c:pt idx="93">
                  <c:v>99</c:v>
                </c:pt>
                <c:pt idx="94">
                  <c:v>100</c:v>
                </c:pt>
                <c:pt idx="95">
                  <c:v>101</c:v>
                </c:pt>
                <c:pt idx="96">
                  <c:v>102</c:v>
                </c:pt>
                <c:pt idx="97">
                  <c:v>103</c:v>
                </c:pt>
                <c:pt idx="98">
                  <c:v>104</c:v>
                </c:pt>
                <c:pt idx="99">
                  <c:v>107</c:v>
                </c:pt>
              </c:numCache>
            </c:numRef>
          </c:cat>
          <c:val>
            <c:numRef>
              <c:f>List1!$B$2:$B$101</c:f>
              <c:numCache>
                <c:formatCode>General</c:formatCode>
                <c:ptCount val="100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6</c:v>
                </c:pt>
                <c:pt idx="4">
                  <c:v>2</c:v>
                </c:pt>
                <c:pt idx="5">
                  <c:v>13</c:v>
                </c:pt>
                <c:pt idx="6">
                  <c:v>10</c:v>
                </c:pt>
                <c:pt idx="7">
                  <c:v>16</c:v>
                </c:pt>
                <c:pt idx="8">
                  <c:v>16</c:v>
                </c:pt>
                <c:pt idx="9">
                  <c:v>8</c:v>
                </c:pt>
                <c:pt idx="10">
                  <c:v>26</c:v>
                </c:pt>
                <c:pt idx="11">
                  <c:v>12</c:v>
                </c:pt>
                <c:pt idx="12">
                  <c:v>18</c:v>
                </c:pt>
                <c:pt idx="13">
                  <c:v>22</c:v>
                </c:pt>
                <c:pt idx="14">
                  <c:v>32</c:v>
                </c:pt>
                <c:pt idx="15">
                  <c:v>24</c:v>
                </c:pt>
                <c:pt idx="16">
                  <c:v>23</c:v>
                </c:pt>
                <c:pt idx="17">
                  <c:v>33</c:v>
                </c:pt>
                <c:pt idx="18">
                  <c:v>41</c:v>
                </c:pt>
                <c:pt idx="19">
                  <c:v>48</c:v>
                </c:pt>
                <c:pt idx="20">
                  <c:v>57</c:v>
                </c:pt>
                <c:pt idx="21">
                  <c:v>51</c:v>
                </c:pt>
                <c:pt idx="22">
                  <c:v>64</c:v>
                </c:pt>
                <c:pt idx="23">
                  <c:v>56</c:v>
                </c:pt>
                <c:pt idx="24">
                  <c:v>66</c:v>
                </c:pt>
                <c:pt idx="25">
                  <c:v>77</c:v>
                </c:pt>
                <c:pt idx="26">
                  <c:v>74</c:v>
                </c:pt>
                <c:pt idx="27">
                  <c:v>78</c:v>
                </c:pt>
                <c:pt idx="28">
                  <c:v>89</c:v>
                </c:pt>
                <c:pt idx="29">
                  <c:v>83</c:v>
                </c:pt>
                <c:pt idx="30">
                  <c:v>75</c:v>
                </c:pt>
                <c:pt idx="31">
                  <c:v>89</c:v>
                </c:pt>
                <c:pt idx="32">
                  <c:v>119</c:v>
                </c:pt>
                <c:pt idx="33">
                  <c:v>93</c:v>
                </c:pt>
                <c:pt idx="34">
                  <c:v>119</c:v>
                </c:pt>
                <c:pt idx="35">
                  <c:v>139</c:v>
                </c:pt>
                <c:pt idx="36">
                  <c:v>115</c:v>
                </c:pt>
                <c:pt idx="37">
                  <c:v>122</c:v>
                </c:pt>
                <c:pt idx="38">
                  <c:v>143</c:v>
                </c:pt>
                <c:pt idx="39">
                  <c:v>140</c:v>
                </c:pt>
                <c:pt idx="40">
                  <c:v>142</c:v>
                </c:pt>
                <c:pt idx="41">
                  <c:v>147</c:v>
                </c:pt>
                <c:pt idx="42">
                  <c:v>120</c:v>
                </c:pt>
                <c:pt idx="43">
                  <c:v>123</c:v>
                </c:pt>
                <c:pt idx="44">
                  <c:v>125</c:v>
                </c:pt>
                <c:pt idx="45">
                  <c:v>156</c:v>
                </c:pt>
                <c:pt idx="46">
                  <c:v>117</c:v>
                </c:pt>
                <c:pt idx="47">
                  <c:v>131</c:v>
                </c:pt>
                <c:pt idx="48">
                  <c:v>156</c:v>
                </c:pt>
                <c:pt idx="49">
                  <c:v>173</c:v>
                </c:pt>
                <c:pt idx="50">
                  <c:v>161</c:v>
                </c:pt>
                <c:pt idx="51">
                  <c:v>159</c:v>
                </c:pt>
                <c:pt idx="52">
                  <c:v>136</c:v>
                </c:pt>
                <c:pt idx="53">
                  <c:v>170</c:v>
                </c:pt>
                <c:pt idx="54">
                  <c:v>192</c:v>
                </c:pt>
                <c:pt idx="55">
                  <c:v>197</c:v>
                </c:pt>
                <c:pt idx="56">
                  <c:v>208</c:v>
                </c:pt>
                <c:pt idx="57">
                  <c:v>252</c:v>
                </c:pt>
                <c:pt idx="58">
                  <c:v>275</c:v>
                </c:pt>
                <c:pt idx="59">
                  <c:v>261</c:v>
                </c:pt>
                <c:pt idx="60">
                  <c:v>290</c:v>
                </c:pt>
                <c:pt idx="61">
                  <c:v>305</c:v>
                </c:pt>
                <c:pt idx="62">
                  <c:v>327</c:v>
                </c:pt>
                <c:pt idx="63">
                  <c:v>404</c:v>
                </c:pt>
                <c:pt idx="64">
                  <c:v>405</c:v>
                </c:pt>
                <c:pt idx="65">
                  <c:v>412</c:v>
                </c:pt>
                <c:pt idx="66">
                  <c:v>501</c:v>
                </c:pt>
                <c:pt idx="67">
                  <c:v>550</c:v>
                </c:pt>
                <c:pt idx="68">
                  <c:v>573</c:v>
                </c:pt>
                <c:pt idx="69">
                  <c:v>514</c:v>
                </c:pt>
                <c:pt idx="70">
                  <c:v>652</c:v>
                </c:pt>
                <c:pt idx="71">
                  <c:v>663</c:v>
                </c:pt>
                <c:pt idx="72">
                  <c:v>704</c:v>
                </c:pt>
                <c:pt idx="73">
                  <c:v>763</c:v>
                </c:pt>
                <c:pt idx="74">
                  <c:v>818</c:v>
                </c:pt>
                <c:pt idx="75">
                  <c:v>812</c:v>
                </c:pt>
                <c:pt idx="76">
                  <c:v>841</c:v>
                </c:pt>
                <c:pt idx="77">
                  <c:v>934</c:v>
                </c:pt>
                <c:pt idx="78">
                  <c:v>918</c:v>
                </c:pt>
                <c:pt idx="79">
                  <c:v>1049</c:v>
                </c:pt>
                <c:pt idx="80">
                  <c:v>1088</c:v>
                </c:pt>
                <c:pt idx="81">
                  <c:v>1112</c:v>
                </c:pt>
                <c:pt idx="82">
                  <c:v>1206</c:v>
                </c:pt>
                <c:pt idx="83">
                  <c:v>1129</c:v>
                </c:pt>
                <c:pt idx="84">
                  <c:v>1110</c:v>
                </c:pt>
                <c:pt idx="85">
                  <c:v>960</c:v>
                </c:pt>
                <c:pt idx="86">
                  <c:v>858</c:v>
                </c:pt>
                <c:pt idx="87">
                  <c:v>696</c:v>
                </c:pt>
                <c:pt idx="88">
                  <c:v>498</c:v>
                </c:pt>
                <c:pt idx="89">
                  <c:v>392</c:v>
                </c:pt>
                <c:pt idx="90">
                  <c:v>301</c:v>
                </c:pt>
                <c:pt idx="91">
                  <c:v>225</c:v>
                </c:pt>
                <c:pt idx="92">
                  <c:v>145</c:v>
                </c:pt>
                <c:pt idx="93">
                  <c:v>87</c:v>
                </c:pt>
                <c:pt idx="94">
                  <c:v>39</c:v>
                </c:pt>
                <c:pt idx="95">
                  <c:v>27</c:v>
                </c:pt>
                <c:pt idx="96">
                  <c:v>6</c:v>
                </c:pt>
                <c:pt idx="97">
                  <c:v>4</c:v>
                </c:pt>
                <c:pt idx="98">
                  <c:v>3</c:v>
                </c:pt>
                <c:pt idx="9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16</c:f>
              <c:numCache>
                <c:formatCode>m/d/yyyy</c:formatCode>
                <c:ptCount val="4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</c:numCache>
            </c:numRef>
          </c:cat>
          <c:val>
            <c:numRef>
              <c:f>Sheet1!$B$2:$B$416</c:f>
              <c:numCache>
                <c:formatCode>#\ ##0_ ;\-#\ ##0\ </c:formatCode>
                <c:ptCount val="415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5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0</c:v>
                </c:pt>
                <c:pt idx="31">
                  <c:v>60</c:v>
                </c:pt>
                <c:pt idx="32">
                  <c:v>36</c:v>
                </c:pt>
                <c:pt idx="33">
                  <c:v>54</c:v>
                </c:pt>
                <c:pt idx="34">
                  <c:v>137</c:v>
                </c:pt>
                <c:pt idx="35">
                  <c:v>82</c:v>
                </c:pt>
                <c:pt idx="36">
                  <c:v>45</c:v>
                </c:pt>
                <c:pt idx="37">
                  <c:v>78</c:v>
                </c:pt>
                <c:pt idx="38">
                  <c:v>139</c:v>
                </c:pt>
                <c:pt idx="39">
                  <c:v>30</c:v>
                </c:pt>
                <c:pt idx="40">
                  <c:v>11</c:v>
                </c:pt>
                <c:pt idx="41">
                  <c:v>138</c:v>
                </c:pt>
                <c:pt idx="42">
                  <c:v>222</c:v>
                </c:pt>
                <c:pt idx="43">
                  <c:v>181</c:v>
                </c:pt>
                <c:pt idx="44">
                  <c:v>190</c:v>
                </c:pt>
                <c:pt idx="45">
                  <c:v>204</c:v>
                </c:pt>
                <c:pt idx="46">
                  <c:v>155</c:v>
                </c:pt>
                <c:pt idx="47">
                  <c:v>41</c:v>
                </c:pt>
                <c:pt idx="48">
                  <c:v>242</c:v>
                </c:pt>
                <c:pt idx="49">
                  <c:v>196</c:v>
                </c:pt>
                <c:pt idx="50">
                  <c:v>326</c:v>
                </c:pt>
                <c:pt idx="51">
                  <c:v>226</c:v>
                </c:pt>
                <c:pt idx="52">
                  <c:v>415</c:v>
                </c:pt>
                <c:pt idx="53">
                  <c:v>227</c:v>
                </c:pt>
                <c:pt idx="54">
                  <c:v>194</c:v>
                </c:pt>
                <c:pt idx="55">
                  <c:v>387</c:v>
                </c:pt>
                <c:pt idx="56">
                  <c:v>521</c:v>
                </c:pt>
                <c:pt idx="57">
                  <c:v>260</c:v>
                </c:pt>
                <c:pt idx="58">
                  <c:v>535</c:v>
                </c:pt>
                <c:pt idx="59">
                  <c:v>587</c:v>
                </c:pt>
                <c:pt idx="60">
                  <c:v>336</c:v>
                </c:pt>
                <c:pt idx="61">
                  <c:v>212</c:v>
                </c:pt>
                <c:pt idx="62">
                  <c:v>330</c:v>
                </c:pt>
                <c:pt idx="63">
                  <c:v>332</c:v>
                </c:pt>
                <c:pt idx="64">
                  <c:v>424</c:v>
                </c:pt>
                <c:pt idx="65">
                  <c:v>533</c:v>
                </c:pt>
                <c:pt idx="66">
                  <c:v>487</c:v>
                </c:pt>
                <c:pt idx="67">
                  <c:v>214</c:v>
                </c:pt>
                <c:pt idx="68">
                  <c:v>78</c:v>
                </c:pt>
                <c:pt idx="69">
                  <c:v>202</c:v>
                </c:pt>
                <c:pt idx="70">
                  <c:v>385</c:v>
                </c:pt>
                <c:pt idx="71">
                  <c:v>674</c:v>
                </c:pt>
                <c:pt idx="72">
                  <c:v>499</c:v>
                </c:pt>
                <c:pt idx="73">
                  <c:v>480</c:v>
                </c:pt>
                <c:pt idx="74">
                  <c:v>179</c:v>
                </c:pt>
                <c:pt idx="75">
                  <c:v>164</c:v>
                </c:pt>
                <c:pt idx="76">
                  <c:v>381</c:v>
                </c:pt>
                <c:pt idx="77">
                  <c:v>137</c:v>
                </c:pt>
                <c:pt idx="78">
                  <c:v>269</c:v>
                </c:pt>
                <c:pt idx="79">
                  <c:v>269</c:v>
                </c:pt>
                <c:pt idx="80">
                  <c:v>238</c:v>
                </c:pt>
                <c:pt idx="81">
                  <c:v>94</c:v>
                </c:pt>
                <c:pt idx="82">
                  <c:v>91</c:v>
                </c:pt>
                <c:pt idx="83">
                  <c:v>379</c:v>
                </c:pt>
                <c:pt idx="84">
                  <c:v>198</c:v>
                </c:pt>
                <c:pt idx="85">
                  <c:v>123</c:v>
                </c:pt>
                <c:pt idx="86">
                  <c:v>195</c:v>
                </c:pt>
                <c:pt idx="87">
                  <c:v>138</c:v>
                </c:pt>
                <c:pt idx="88">
                  <c:v>78</c:v>
                </c:pt>
                <c:pt idx="89">
                  <c:v>28</c:v>
                </c:pt>
                <c:pt idx="90">
                  <c:v>215</c:v>
                </c:pt>
                <c:pt idx="91">
                  <c:v>123</c:v>
                </c:pt>
                <c:pt idx="92">
                  <c:v>132</c:v>
                </c:pt>
                <c:pt idx="93">
                  <c:v>132</c:v>
                </c:pt>
                <c:pt idx="94">
                  <c:v>139</c:v>
                </c:pt>
                <c:pt idx="95">
                  <c:v>88</c:v>
                </c:pt>
                <c:pt idx="96">
                  <c:v>20</c:v>
                </c:pt>
                <c:pt idx="97">
                  <c:v>142</c:v>
                </c:pt>
                <c:pt idx="98">
                  <c:v>89</c:v>
                </c:pt>
                <c:pt idx="99">
                  <c:v>141</c:v>
                </c:pt>
                <c:pt idx="100">
                  <c:v>83</c:v>
                </c:pt>
                <c:pt idx="101">
                  <c:v>229</c:v>
                </c:pt>
                <c:pt idx="102">
                  <c:v>67</c:v>
                </c:pt>
                <c:pt idx="103">
                  <c:v>50</c:v>
                </c:pt>
                <c:pt idx="104">
                  <c:v>148</c:v>
                </c:pt>
                <c:pt idx="105">
                  <c:v>133</c:v>
                </c:pt>
                <c:pt idx="106">
                  <c:v>100</c:v>
                </c:pt>
                <c:pt idx="107">
                  <c:v>68</c:v>
                </c:pt>
                <c:pt idx="108">
                  <c:v>215</c:v>
                </c:pt>
                <c:pt idx="109">
                  <c:v>59</c:v>
                </c:pt>
                <c:pt idx="110">
                  <c:v>21</c:v>
                </c:pt>
                <c:pt idx="111">
                  <c:v>179</c:v>
                </c:pt>
                <c:pt idx="112">
                  <c:v>174</c:v>
                </c:pt>
                <c:pt idx="113">
                  <c:v>122</c:v>
                </c:pt>
                <c:pt idx="114">
                  <c:v>18</c:v>
                </c:pt>
                <c:pt idx="115">
                  <c:v>71</c:v>
                </c:pt>
                <c:pt idx="116">
                  <c:v>77</c:v>
                </c:pt>
                <c:pt idx="117">
                  <c:v>97</c:v>
                </c:pt>
                <c:pt idx="118">
                  <c:v>165</c:v>
                </c:pt>
                <c:pt idx="119">
                  <c:v>186</c:v>
                </c:pt>
                <c:pt idx="120">
                  <c:v>143</c:v>
                </c:pt>
                <c:pt idx="121">
                  <c:v>133</c:v>
                </c:pt>
                <c:pt idx="122">
                  <c:v>64</c:v>
                </c:pt>
                <c:pt idx="123">
                  <c:v>59</c:v>
                </c:pt>
                <c:pt idx="124">
                  <c:v>41</c:v>
                </c:pt>
                <c:pt idx="125">
                  <c:v>267</c:v>
                </c:pt>
                <c:pt idx="126">
                  <c:v>151</c:v>
                </c:pt>
                <c:pt idx="127">
                  <c:v>164</c:v>
                </c:pt>
                <c:pt idx="128">
                  <c:v>231</c:v>
                </c:pt>
                <c:pt idx="129">
                  <c:v>184</c:v>
                </c:pt>
                <c:pt idx="130">
                  <c:v>60</c:v>
                </c:pt>
                <c:pt idx="131">
                  <c:v>28</c:v>
                </c:pt>
                <c:pt idx="132">
                  <c:v>238</c:v>
                </c:pt>
                <c:pt idx="133">
                  <c:v>125</c:v>
                </c:pt>
                <c:pt idx="134">
                  <c:v>175</c:v>
                </c:pt>
                <c:pt idx="135">
                  <c:v>97</c:v>
                </c:pt>
                <c:pt idx="136">
                  <c:v>85</c:v>
                </c:pt>
                <c:pt idx="137">
                  <c:v>35</c:v>
                </c:pt>
                <c:pt idx="138">
                  <c:v>45</c:v>
                </c:pt>
                <c:pt idx="139">
                  <c:v>160</c:v>
                </c:pt>
                <c:pt idx="140">
                  <c:v>78</c:v>
                </c:pt>
                <c:pt idx="141">
                  <c:v>146</c:v>
                </c:pt>
                <c:pt idx="142">
                  <c:v>106</c:v>
                </c:pt>
                <c:pt idx="143">
                  <c:v>114</c:v>
                </c:pt>
                <c:pt idx="144">
                  <c:v>53</c:v>
                </c:pt>
                <c:pt idx="145">
                  <c:v>24</c:v>
                </c:pt>
                <c:pt idx="146">
                  <c:v>85</c:v>
                </c:pt>
                <c:pt idx="147">
                  <c:v>41</c:v>
                </c:pt>
                <c:pt idx="148">
                  <c:v>93</c:v>
                </c:pt>
                <c:pt idx="149">
                  <c:v>65</c:v>
                </c:pt>
                <c:pt idx="150">
                  <c:v>37</c:v>
                </c:pt>
                <c:pt idx="151">
                  <c:v>49</c:v>
                </c:pt>
                <c:pt idx="152">
                  <c:v>9</c:v>
                </c:pt>
                <c:pt idx="153">
                  <c:v>105</c:v>
                </c:pt>
                <c:pt idx="154">
                  <c:v>94</c:v>
                </c:pt>
                <c:pt idx="155">
                  <c:v>102</c:v>
                </c:pt>
                <c:pt idx="156">
                  <c:v>82</c:v>
                </c:pt>
                <c:pt idx="157">
                  <c:v>84</c:v>
                </c:pt>
                <c:pt idx="158">
                  <c:v>42</c:v>
                </c:pt>
                <c:pt idx="159">
                  <c:v>16</c:v>
                </c:pt>
                <c:pt idx="160">
                  <c:v>63</c:v>
                </c:pt>
                <c:pt idx="161">
                  <c:v>65</c:v>
                </c:pt>
                <c:pt idx="162">
                  <c:v>67</c:v>
                </c:pt>
                <c:pt idx="163">
                  <c:v>65</c:v>
                </c:pt>
                <c:pt idx="164">
                  <c:v>52</c:v>
                </c:pt>
                <c:pt idx="165">
                  <c:v>8</c:v>
                </c:pt>
                <c:pt idx="166">
                  <c:v>12</c:v>
                </c:pt>
                <c:pt idx="167">
                  <c:v>37</c:v>
                </c:pt>
                <c:pt idx="168">
                  <c:v>18</c:v>
                </c:pt>
                <c:pt idx="169">
                  <c:v>30</c:v>
                </c:pt>
                <c:pt idx="170">
                  <c:v>27</c:v>
                </c:pt>
                <c:pt idx="171">
                  <c:v>26</c:v>
                </c:pt>
                <c:pt idx="172">
                  <c:v>18</c:v>
                </c:pt>
                <c:pt idx="173">
                  <c:v>5</c:v>
                </c:pt>
                <c:pt idx="174">
                  <c:v>90</c:v>
                </c:pt>
                <c:pt idx="175">
                  <c:v>35</c:v>
                </c:pt>
                <c:pt idx="176">
                  <c:v>35</c:v>
                </c:pt>
                <c:pt idx="177">
                  <c:v>46</c:v>
                </c:pt>
                <c:pt idx="178">
                  <c:v>46</c:v>
                </c:pt>
                <c:pt idx="179">
                  <c:v>9</c:v>
                </c:pt>
                <c:pt idx="180">
                  <c:v>3</c:v>
                </c:pt>
                <c:pt idx="181">
                  <c:v>78</c:v>
                </c:pt>
                <c:pt idx="182">
                  <c:v>28</c:v>
                </c:pt>
                <c:pt idx="183">
                  <c:v>46</c:v>
                </c:pt>
                <c:pt idx="184">
                  <c:v>9</c:v>
                </c:pt>
                <c:pt idx="185">
                  <c:v>22</c:v>
                </c:pt>
                <c:pt idx="186">
                  <c:v>4</c:v>
                </c:pt>
                <c:pt idx="187">
                  <c:v>5</c:v>
                </c:pt>
                <c:pt idx="188">
                  <c:v>27</c:v>
                </c:pt>
                <c:pt idx="189">
                  <c:v>70</c:v>
                </c:pt>
                <c:pt idx="190">
                  <c:v>55</c:v>
                </c:pt>
                <c:pt idx="191">
                  <c:v>12</c:v>
                </c:pt>
                <c:pt idx="192">
                  <c:v>25</c:v>
                </c:pt>
                <c:pt idx="193">
                  <c:v>9</c:v>
                </c:pt>
                <c:pt idx="194">
                  <c:v>6</c:v>
                </c:pt>
                <c:pt idx="195">
                  <c:v>26</c:v>
                </c:pt>
                <c:pt idx="196">
                  <c:v>20</c:v>
                </c:pt>
                <c:pt idx="197">
                  <c:v>7</c:v>
                </c:pt>
                <c:pt idx="198">
                  <c:v>36</c:v>
                </c:pt>
                <c:pt idx="199">
                  <c:v>18</c:v>
                </c:pt>
                <c:pt idx="200">
                  <c:v>8</c:v>
                </c:pt>
                <c:pt idx="201">
                  <c:v>4</c:v>
                </c:pt>
                <c:pt idx="202">
                  <c:v>13</c:v>
                </c:pt>
                <c:pt idx="203">
                  <c:v>27</c:v>
                </c:pt>
                <c:pt idx="204">
                  <c:v>19</c:v>
                </c:pt>
                <c:pt idx="205">
                  <c:v>31</c:v>
                </c:pt>
                <c:pt idx="206">
                  <c:v>6</c:v>
                </c:pt>
                <c:pt idx="207">
                  <c:v>3</c:v>
                </c:pt>
                <c:pt idx="208">
                  <c:v>4</c:v>
                </c:pt>
                <c:pt idx="209">
                  <c:v>21</c:v>
                </c:pt>
                <c:pt idx="210">
                  <c:v>9</c:v>
                </c:pt>
                <c:pt idx="211">
                  <c:v>8</c:v>
                </c:pt>
                <c:pt idx="212">
                  <c:v>9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1</c:v>
                </c:pt>
                <c:pt idx="217">
                  <c:v>5</c:v>
                </c:pt>
                <c:pt idx="218">
                  <c:v>16</c:v>
                </c:pt>
                <c:pt idx="219">
                  <c:v>1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1</c:v>
                </c:pt>
                <c:pt idx="224">
                  <c:v>2</c:v>
                </c:pt>
                <c:pt idx="225">
                  <c:v>1</c:v>
                </c:pt>
                <c:pt idx="226">
                  <c:v>3</c:v>
                </c:pt>
                <c:pt idx="227">
                  <c:v>1</c:v>
                </c:pt>
                <c:pt idx="228">
                  <c:v>1</c:v>
                </c:pt>
                <c:pt idx="229">
                  <c:v>1</c:v>
                </c:pt>
                <c:pt idx="230">
                  <c:v>5</c:v>
                </c:pt>
                <c:pt idx="231">
                  <c:v>4</c:v>
                </c:pt>
                <c:pt idx="232">
                  <c:v>3</c:v>
                </c:pt>
                <c:pt idx="233">
                  <c:v>9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1</c:v>
                </c:pt>
                <c:pt idx="238">
                  <c:v>3</c:v>
                </c:pt>
                <c:pt idx="239">
                  <c:v>0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2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1</c:v>
                </c:pt>
                <c:pt idx="255">
                  <c:v>3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3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0</c:v>
                </c:pt>
                <c:pt idx="399">
                  <c:v>1</c:v>
                </c:pt>
                <c:pt idx="400">
                  <c:v>7</c:v>
                </c:pt>
                <c:pt idx="401">
                  <c:v>1</c:v>
                </c:pt>
                <c:pt idx="402">
                  <c:v>3</c:v>
                </c:pt>
                <c:pt idx="403">
                  <c:v>0</c:v>
                </c:pt>
                <c:pt idx="404">
                  <c:v>0</c:v>
                </c:pt>
                <c:pt idx="405">
                  <c:v>1</c:v>
                </c:pt>
                <c:pt idx="406">
                  <c:v>0</c:v>
                </c:pt>
                <c:pt idx="407">
                  <c:v>19</c:v>
                </c:pt>
                <c:pt idx="408">
                  <c:v>0</c:v>
                </c:pt>
                <c:pt idx="409">
                  <c:v>1</c:v>
                </c:pt>
                <c:pt idx="410">
                  <c:v>0</c:v>
                </c:pt>
                <c:pt idx="411">
                  <c:v>1</c:v>
                </c:pt>
                <c:pt idx="412">
                  <c:v>2</c:v>
                </c:pt>
                <c:pt idx="413">
                  <c:v>6</c:v>
                </c:pt>
                <c:pt idx="41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17</c:f>
              <c:numCache>
                <c:formatCode>m/d/yyyy</c:formatCode>
                <c:ptCount val="4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</c:numCache>
            </c:numRef>
          </c:cat>
          <c:val>
            <c:numRef>
              <c:f>Sheet1!$B$2:$B$417</c:f>
              <c:numCache>
                <c:formatCode>#\ ##0_ ;\-#\ ##0\ </c:formatCode>
                <c:ptCount val="416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5</c:v>
                </c:pt>
                <c:pt idx="21">
                  <c:v>4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4</c:v>
                </c:pt>
                <c:pt idx="28">
                  <c:v>22</c:v>
                </c:pt>
                <c:pt idx="29">
                  <c:v>10</c:v>
                </c:pt>
                <c:pt idx="30">
                  <c:v>30</c:v>
                </c:pt>
                <c:pt idx="31">
                  <c:v>91</c:v>
                </c:pt>
                <c:pt idx="32">
                  <c:v>31</c:v>
                </c:pt>
                <c:pt idx="33">
                  <c:v>29</c:v>
                </c:pt>
                <c:pt idx="34">
                  <c:v>76</c:v>
                </c:pt>
                <c:pt idx="35">
                  <c:v>46</c:v>
                </c:pt>
                <c:pt idx="36">
                  <c:v>42</c:v>
                </c:pt>
                <c:pt idx="37">
                  <c:v>84</c:v>
                </c:pt>
                <c:pt idx="38">
                  <c:v>86</c:v>
                </c:pt>
                <c:pt idx="39">
                  <c:v>50</c:v>
                </c:pt>
                <c:pt idx="40">
                  <c:v>25</c:v>
                </c:pt>
                <c:pt idx="41">
                  <c:v>154</c:v>
                </c:pt>
                <c:pt idx="42">
                  <c:v>153</c:v>
                </c:pt>
                <c:pt idx="43">
                  <c:v>190</c:v>
                </c:pt>
                <c:pt idx="44">
                  <c:v>194</c:v>
                </c:pt>
                <c:pt idx="45">
                  <c:v>210</c:v>
                </c:pt>
                <c:pt idx="46">
                  <c:v>103</c:v>
                </c:pt>
                <c:pt idx="47">
                  <c:v>48</c:v>
                </c:pt>
                <c:pt idx="48">
                  <c:v>186</c:v>
                </c:pt>
                <c:pt idx="49">
                  <c:v>192</c:v>
                </c:pt>
                <c:pt idx="50">
                  <c:v>256</c:v>
                </c:pt>
                <c:pt idx="51">
                  <c:v>234</c:v>
                </c:pt>
                <c:pt idx="52">
                  <c:v>333</c:v>
                </c:pt>
                <c:pt idx="53">
                  <c:v>187</c:v>
                </c:pt>
                <c:pt idx="54">
                  <c:v>90</c:v>
                </c:pt>
                <c:pt idx="55">
                  <c:v>370</c:v>
                </c:pt>
                <c:pt idx="56">
                  <c:v>393</c:v>
                </c:pt>
                <c:pt idx="57">
                  <c:v>133</c:v>
                </c:pt>
                <c:pt idx="58">
                  <c:v>468</c:v>
                </c:pt>
                <c:pt idx="59">
                  <c:v>331</c:v>
                </c:pt>
                <c:pt idx="60">
                  <c:v>180</c:v>
                </c:pt>
                <c:pt idx="61">
                  <c:v>115</c:v>
                </c:pt>
                <c:pt idx="62">
                  <c:v>292</c:v>
                </c:pt>
                <c:pt idx="63">
                  <c:v>229</c:v>
                </c:pt>
                <c:pt idx="64">
                  <c:v>325</c:v>
                </c:pt>
                <c:pt idx="65">
                  <c:v>278</c:v>
                </c:pt>
                <c:pt idx="66">
                  <c:v>239</c:v>
                </c:pt>
                <c:pt idx="67">
                  <c:v>116</c:v>
                </c:pt>
                <c:pt idx="68">
                  <c:v>46</c:v>
                </c:pt>
                <c:pt idx="69">
                  <c:v>194</c:v>
                </c:pt>
                <c:pt idx="70">
                  <c:v>201</c:v>
                </c:pt>
                <c:pt idx="71">
                  <c:v>259</c:v>
                </c:pt>
                <c:pt idx="72">
                  <c:v>228</c:v>
                </c:pt>
                <c:pt idx="73">
                  <c:v>203</c:v>
                </c:pt>
                <c:pt idx="74">
                  <c:v>72</c:v>
                </c:pt>
                <c:pt idx="75">
                  <c:v>30</c:v>
                </c:pt>
                <c:pt idx="76">
                  <c:v>175</c:v>
                </c:pt>
                <c:pt idx="77">
                  <c:v>46</c:v>
                </c:pt>
                <c:pt idx="78">
                  <c:v>161</c:v>
                </c:pt>
                <c:pt idx="79">
                  <c:v>125</c:v>
                </c:pt>
                <c:pt idx="80">
                  <c:v>120</c:v>
                </c:pt>
                <c:pt idx="81">
                  <c:v>35</c:v>
                </c:pt>
                <c:pt idx="82">
                  <c:v>17</c:v>
                </c:pt>
                <c:pt idx="83">
                  <c:v>140</c:v>
                </c:pt>
                <c:pt idx="84">
                  <c:v>105</c:v>
                </c:pt>
                <c:pt idx="85">
                  <c:v>92</c:v>
                </c:pt>
                <c:pt idx="86">
                  <c:v>53</c:v>
                </c:pt>
                <c:pt idx="87">
                  <c:v>81</c:v>
                </c:pt>
                <c:pt idx="88">
                  <c:v>23</c:v>
                </c:pt>
                <c:pt idx="89">
                  <c:v>15</c:v>
                </c:pt>
                <c:pt idx="90">
                  <c:v>108</c:v>
                </c:pt>
                <c:pt idx="91">
                  <c:v>85</c:v>
                </c:pt>
                <c:pt idx="92">
                  <c:v>66</c:v>
                </c:pt>
                <c:pt idx="93">
                  <c:v>55</c:v>
                </c:pt>
                <c:pt idx="94">
                  <c:v>90</c:v>
                </c:pt>
                <c:pt idx="95">
                  <c:v>39</c:v>
                </c:pt>
                <c:pt idx="96">
                  <c:v>24</c:v>
                </c:pt>
                <c:pt idx="97">
                  <c:v>121</c:v>
                </c:pt>
                <c:pt idx="98">
                  <c:v>75</c:v>
                </c:pt>
                <c:pt idx="99">
                  <c:v>62</c:v>
                </c:pt>
                <c:pt idx="100">
                  <c:v>60</c:v>
                </c:pt>
                <c:pt idx="101">
                  <c:v>78</c:v>
                </c:pt>
                <c:pt idx="102">
                  <c:v>21</c:v>
                </c:pt>
                <c:pt idx="103">
                  <c:v>15</c:v>
                </c:pt>
                <c:pt idx="104">
                  <c:v>130</c:v>
                </c:pt>
                <c:pt idx="105">
                  <c:v>71</c:v>
                </c:pt>
                <c:pt idx="106">
                  <c:v>94</c:v>
                </c:pt>
                <c:pt idx="107">
                  <c:v>50</c:v>
                </c:pt>
                <c:pt idx="108">
                  <c:v>74</c:v>
                </c:pt>
                <c:pt idx="109">
                  <c:v>27</c:v>
                </c:pt>
                <c:pt idx="110">
                  <c:v>27</c:v>
                </c:pt>
                <c:pt idx="111">
                  <c:v>157</c:v>
                </c:pt>
                <c:pt idx="112">
                  <c:v>109</c:v>
                </c:pt>
                <c:pt idx="113">
                  <c:v>115</c:v>
                </c:pt>
                <c:pt idx="114">
                  <c:v>27</c:v>
                </c:pt>
                <c:pt idx="115">
                  <c:v>44</c:v>
                </c:pt>
                <c:pt idx="116">
                  <c:v>49</c:v>
                </c:pt>
                <c:pt idx="117">
                  <c:v>45</c:v>
                </c:pt>
                <c:pt idx="118">
                  <c:v>189</c:v>
                </c:pt>
                <c:pt idx="119">
                  <c:v>144</c:v>
                </c:pt>
                <c:pt idx="120">
                  <c:v>108</c:v>
                </c:pt>
                <c:pt idx="121">
                  <c:v>84</c:v>
                </c:pt>
                <c:pt idx="122">
                  <c:v>28</c:v>
                </c:pt>
                <c:pt idx="123">
                  <c:v>57</c:v>
                </c:pt>
                <c:pt idx="124">
                  <c:v>34</c:v>
                </c:pt>
                <c:pt idx="125">
                  <c:v>263</c:v>
                </c:pt>
                <c:pt idx="126">
                  <c:v>143</c:v>
                </c:pt>
                <c:pt idx="127">
                  <c:v>111</c:v>
                </c:pt>
                <c:pt idx="128">
                  <c:v>97</c:v>
                </c:pt>
                <c:pt idx="129">
                  <c:v>120</c:v>
                </c:pt>
                <c:pt idx="130">
                  <c:v>48</c:v>
                </c:pt>
                <c:pt idx="131">
                  <c:v>24</c:v>
                </c:pt>
                <c:pt idx="132">
                  <c:v>226</c:v>
                </c:pt>
                <c:pt idx="133">
                  <c:v>95</c:v>
                </c:pt>
                <c:pt idx="134">
                  <c:v>106</c:v>
                </c:pt>
                <c:pt idx="135">
                  <c:v>53</c:v>
                </c:pt>
                <c:pt idx="136">
                  <c:v>63</c:v>
                </c:pt>
                <c:pt idx="137">
                  <c:v>31</c:v>
                </c:pt>
                <c:pt idx="138">
                  <c:v>26</c:v>
                </c:pt>
                <c:pt idx="139">
                  <c:v>122</c:v>
                </c:pt>
                <c:pt idx="140">
                  <c:v>74</c:v>
                </c:pt>
                <c:pt idx="141">
                  <c:v>71</c:v>
                </c:pt>
                <c:pt idx="142">
                  <c:v>58</c:v>
                </c:pt>
                <c:pt idx="143">
                  <c:v>78</c:v>
                </c:pt>
                <c:pt idx="144">
                  <c:v>26</c:v>
                </c:pt>
                <c:pt idx="145">
                  <c:v>11</c:v>
                </c:pt>
                <c:pt idx="146">
                  <c:v>89</c:v>
                </c:pt>
                <c:pt idx="147">
                  <c:v>76</c:v>
                </c:pt>
                <c:pt idx="148">
                  <c:v>57</c:v>
                </c:pt>
                <c:pt idx="149">
                  <c:v>32</c:v>
                </c:pt>
                <c:pt idx="150">
                  <c:v>45</c:v>
                </c:pt>
                <c:pt idx="151">
                  <c:v>29</c:v>
                </c:pt>
                <c:pt idx="152">
                  <c:v>9</c:v>
                </c:pt>
                <c:pt idx="153">
                  <c:v>78</c:v>
                </c:pt>
                <c:pt idx="154">
                  <c:v>67</c:v>
                </c:pt>
                <c:pt idx="155">
                  <c:v>54</c:v>
                </c:pt>
                <c:pt idx="156">
                  <c:v>41</c:v>
                </c:pt>
                <c:pt idx="157">
                  <c:v>46</c:v>
                </c:pt>
                <c:pt idx="158">
                  <c:v>10</c:v>
                </c:pt>
                <c:pt idx="159">
                  <c:v>17</c:v>
                </c:pt>
                <c:pt idx="160">
                  <c:v>68</c:v>
                </c:pt>
                <c:pt idx="161">
                  <c:v>21</c:v>
                </c:pt>
                <c:pt idx="162">
                  <c:v>33</c:v>
                </c:pt>
                <c:pt idx="163">
                  <c:v>38</c:v>
                </c:pt>
                <c:pt idx="164">
                  <c:v>39</c:v>
                </c:pt>
                <c:pt idx="165">
                  <c:v>15</c:v>
                </c:pt>
                <c:pt idx="166">
                  <c:v>9</c:v>
                </c:pt>
                <c:pt idx="167">
                  <c:v>62</c:v>
                </c:pt>
                <c:pt idx="168">
                  <c:v>32</c:v>
                </c:pt>
                <c:pt idx="169">
                  <c:v>36</c:v>
                </c:pt>
                <c:pt idx="170">
                  <c:v>28</c:v>
                </c:pt>
                <c:pt idx="171">
                  <c:v>33</c:v>
                </c:pt>
                <c:pt idx="172">
                  <c:v>6</c:v>
                </c:pt>
                <c:pt idx="173">
                  <c:v>18</c:v>
                </c:pt>
                <c:pt idx="174">
                  <c:v>70</c:v>
                </c:pt>
                <c:pt idx="175">
                  <c:v>44</c:v>
                </c:pt>
                <c:pt idx="176">
                  <c:v>34</c:v>
                </c:pt>
                <c:pt idx="177">
                  <c:v>31</c:v>
                </c:pt>
                <c:pt idx="178">
                  <c:v>38</c:v>
                </c:pt>
                <c:pt idx="179">
                  <c:v>9</c:v>
                </c:pt>
                <c:pt idx="180">
                  <c:v>9</c:v>
                </c:pt>
                <c:pt idx="181">
                  <c:v>55</c:v>
                </c:pt>
                <c:pt idx="182">
                  <c:v>38</c:v>
                </c:pt>
                <c:pt idx="183">
                  <c:v>55</c:v>
                </c:pt>
                <c:pt idx="184">
                  <c:v>33</c:v>
                </c:pt>
                <c:pt idx="185">
                  <c:v>28</c:v>
                </c:pt>
                <c:pt idx="186">
                  <c:v>13</c:v>
                </c:pt>
                <c:pt idx="187">
                  <c:v>9</c:v>
                </c:pt>
                <c:pt idx="188">
                  <c:v>59</c:v>
                </c:pt>
                <c:pt idx="189">
                  <c:v>37</c:v>
                </c:pt>
                <c:pt idx="190">
                  <c:v>29</c:v>
                </c:pt>
                <c:pt idx="191">
                  <c:v>25</c:v>
                </c:pt>
                <c:pt idx="192">
                  <c:v>18</c:v>
                </c:pt>
                <c:pt idx="193">
                  <c:v>11</c:v>
                </c:pt>
                <c:pt idx="194">
                  <c:v>7</c:v>
                </c:pt>
                <c:pt idx="195">
                  <c:v>35</c:v>
                </c:pt>
                <c:pt idx="196">
                  <c:v>23</c:v>
                </c:pt>
                <c:pt idx="197">
                  <c:v>23</c:v>
                </c:pt>
                <c:pt idx="198">
                  <c:v>16</c:v>
                </c:pt>
                <c:pt idx="199">
                  <c:v>20</c:v>
                </c:pt>
                <c:pt idx="200">
                  <c:v>1</c:v>
                </c:pt>
                <c:pt idx="201">
                  <c:v>4</c:v>
                </c:pt>
                <c:pt idx="202">
                  <c:v>27</c:v>
                </c:pt>
                <c:pt idx="203">
                  <c:v>18</c:v>
                </c:pt>
                <c:pt idx="204">
                  <c:v>10</c:v>
                </c:pt>
                <c:pt idx="205">
                  <c:v>8</c:v>
                </c:pt>
                <c:pt idx="206">
                  <c:v>16</c:v>
                </c:pt>
                <c:pt idx="207">
                  <c:v>3</c:v>
                </c:pt>
                <c:pt idx="208">
                  <c:v>1</c:v>
                </c:pt>
                <c:pt idx="209">
                  <c:v>18</c:v>
                </c:pt>
                <c:pt idx="210">
                  <c:v>13</c:v>
                </c:pt>
                <c:pt idx="211">
                  <c:v>13</c:v>
                </c:pt>
                <c:pt idx="212">
                  <c:v>11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4</c:v>
                </c:pt>
                <c:pt idx="217">
                  <c:v>20</c:v>
                </c:pt>
                <c:pt idx="218">
                  <c:v>15</c:v>
                </c:pt>
                <c:pt idx="219">
                  <c:v>16</c:v>
                </c:pt>
                <c:pt idx="220">
                  <c:v>8</c:v>
                </c:pt>
                <c:pt idx="221">
                  <c:v>4</c:v>
                </c:pt>
                <c:pt idx="222">
                  <c:v>1</c:v>
                </c:pt>
                <c:pt idx="223">
                  <c:v>8</c:v>
                </c:pt>
                <c:pt idx="224">
                  <c:v>6</c:v>
                </c:pt>
                <c:pt idx="225">
                  <c:v>4</c:v>
                </c:pt>
                <c:pt idx="226">
                  <c:v>5</c:v>
                </c:pt>
                <c:pt idx="227">
                  <c:v>6</c:v>
                </c:pt>
                <c:pt idx="228">
                  <c:v>1</c:v>
                </c:pt>
                <c:pt idx="229">
                  <c:v>1</c:v>
                </c:pt>
                <c:pt idx="230">
                  <c:v>10</c:v>
                </c:pt>
                <c:pt idx="231">
                  <c:v>3</c:v>
                </c:pt>
                <c:pt idx="232">
                  <c:v>3</c:v>
                </c:pt>
                <c:pt idx="233">
                  <c:v>4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5</c:v>
                </c:pt>
                <c:pt idx="238">
                  <c:v>5</c:v>
                </c:pt>
                <c:pt idx="239">
                  <c:v>1</c:v>
                </c:pt>
                <c:pt idx="240">
                  <c:v>2</c:v>
                </c:pt>
                <c:pt idx="241">
                  <c:v>4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1</c:v>
                </c:pt>
                <c:pt idx="247">
                  <c:v>4</c:v>
                </c:pt>
                <c:pt idx="248">
                  <c:v>2</c:v>
                </c:pt>
                <c:pt idx="249">
                  <c:v>1</c:v>
                </c:pt>
                <c:pt idx="250">
                  <c:v>0</c:v>
                </c:pt>
                <c:pt idx="251">
                  <c:v>1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4</c:v>
                </c:pt>
                <c:pt idx="259">
                  <c:v>4</c:v>
                </c:pt>
                <c:pt idx="260">
                  <c:v>1</c:v>
                </c:pt>
                <c:pt idx="261">
                  <c:v>3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1</c:v>
                </c:pt>
                <c:pt idx="266">
                  <c:v>1</c:v>
                </c:pt>
                <c:pt idx="267">
                  <c:v>1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2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3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0</c:v>
                </c:pt>
                <c:pt idx="391">
                  <c:v>5</c:v>
                </c:pt>
                <c:pt idx="392">
                  <c:v>2</c:v>
                </c:pt>
                <c:pt idx="393">
                  <c:v>6</c:v>
                </c:pt>
                <c:pt idx="394">
                  <c:v>2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2</c:v>
                </c:pt>
                <c:pt idx="399">
                  <c:v>2</c:v>
                </c:pt>
                <c:pt idx="400">
                  <c:v>2</c:v>
                </c:pt>
                <c:pt idx="401">
                  <c:v>1</c:v>
                </c:pt>
                <c:pt idx="402">
                  <c:v>3</c:v>
                </c:pt>
                <c:pt idx="403">
                  <c:v>1</c:v>
                </c:pt>
                <c:pt idx="404">
                  <c:v>0</c:v>
                </c:pt>
                <c:pt idx="405">
                  <c:v>3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3</c:v>
                </c:pt>
                <c:pt idx="410">
                  <c:v>3</c:v>
                </c:pt>
                <c:pt idx="411">
                  <c:v>0</c:v>
                </c:pt>
                <c:pt idx="412">
                  <c:v>8</c:v>
                </c:pt>
                <c:pt idx="413">
                  <c:v>5</c:v>
                </c:pt>
                <c:pt idx="414">
                  <c:v>8</c:v>
                </c:pt>
                <c:pt idx="41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17</c:f>
              <c:numCache>
                <c:formatCode>m/d/yyyy</c:formatCode>
                <c:ptCount val="4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</c:numCache>
            </c:numRef>
          </c:cat>
          <c:val>
            <c:numRef>
              <c:f>Sheet1!$B$2:$B$417</c:f>
              <c:numCache>
                <c:formatCode>#\ ##0_ ;\-#\ ##0\ </c:formatCode>
                <c:ptCount val="416"/>
                <c:pt idx="0">
                  <c:v>7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  <c:pt idx="12">
                  <c:v>1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2</c:v>
                </c:pt>
                <c:pt idx="19">
                  <c:v>6</c:v>
                </c:pt>
                <c:pt idx="20">
                  <c:v>6</c:v>
                </c:pt>
                <c:pt idx="21">
                  <c:v>4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7</c:v>
                </c:pt>
                <c:pt idx="27">
                  <c:v>7</c:v>
                </c:pt>
                <c:pt idx="28">
                  <c:v>27</c:v>
                </c:pt>
                <c:pt idx="29">
                  <c:v>38</c:v>
                </c:pt>
                <c:pt idx="30">
                  <c:v>60</c:v>
                </c:pt>
                <c:pt idx="31">
                  <c:v>151</c:v>
                </c:pt>
                <c:pt idx="32">
                  <c:v>67</c:v>
                </c:pt>
                <c:pt idx="33">
                  <c:v>83</c:v>
                </c:pt>
                <c:pt idx="34">
                  <c:v>213</c:v>
                </c:pt>
                <c:pt idx="35">
                  <c:v>128</c:v>
                </c:pt>
                <c:pt idx="36">
                  <c:v>87</c:v>
                </c:pt>
                <c:pt idx="37">
                  <c:v>162</c:v>
                </c:pt>
                <c:pt idx="38">
                  <c:v>225</c:v>
                </c:pt>
                <c:pt idx="39">
                  <c:v>80</c:v>
                </c:pt>
                <c:pt idx="40">
                  <c:v>36</c:v>
                </c:pt>
                <c:pt idx="41">
                  <c:v>292</c:v>
                </c:pt>
                <c:pt idx="42">
                  <c:v>375</c:v>
                </c:pt>
                <c:pt idx="43">
                  <c:v>371</c:v>
                </c:pt>
                <c:pt idx="44">
                  <c:v>384</c:v>
                </c:pt>
                <c:pt idx="45">
                  <c:v>414</c:v>
                </c:pt>
                <c:pt idx="46">
                  <c:v>258</c:v>
                </c:pt>
                <c:pt idx="47">
                  <c:v>89</c:v>
                </c:pt>
                <c:pt idx="48">
                  <c:v>428</c:v>
                </c:pt>
                <c:pt idx="49">
                  <c:v>388</c:v>
                </c:pt>
                <c:pt idx="50">
                  <c:v>582</c:v>
                </c:pt>
                <c:pt idx="51">
                  <c:v>460</c:v>
                </c:pt>
                <c:pt idx="52">
                  <c:v>748</c:v>
                </c:pt>
                <c:pt idx="53">
                  <c:v>414</c:v>
                </c:pt>
                <c:pt idx="54">
                  <c:v>284</c:v>
                </c:pt>
                <c:pt idx="55">
                  <c:v>757</c:v>
                </c:pt>
                <c:pt idx="56">
                  <c:v>914</c:v>
                </c:pt>
                <c:pt idx="57">
                  <c:v>393</c:v>
                </c:pt>
                <c:pt idx="58">
                  <c:v>1003</c:v>
                </c:pt>
                <c:pt idx="59">
                  <c:v>918</c:v>
                </c:pt>
                <c:pt idx="60">
                  <c:v>516</c:v>
                </c:pt>
                <c:pt idx="61">
                  <c:v>327</c:v>
                </c:pt>
                <c:pt idx="62">
                  <c:v>622</c:v>
                </c:pt>
                <c:pt idx="63">
                  <c:v>561</c:v>
                </c:pt>
                <c:pt idx="64">
                  <c:v>749</c:v>
                </c:pt>
                <c:pt idx="65">
                  <c:v>811</c:v>
                </c:pt>
                <c:pt idx="66">
                  <c:v>726</c:v>
                </c:pt>
                <c:pt idx="67">
                  <c:v>330</c:v>
                </c:pt>
                <c:pt idx="68">
                  <c:v>124</c:v>
                </c:pt>
                <c:pt idx="69">
                  <c:v>396</c:v>
                </c:pt>
                <c:pt idx="70">
                  <c:v>586</c:v>
                </c:pt>
                <c:pt idx="71">
                  <c:v>933</c:v>
                </c:pt>
                <c:pt idx="72">
                  <c:v>727</c:v>
                </c:pt>
                <c:pt idx="73">
                  <c:v>683</c:v>
                </c:pt>
                <c:pt idx="74">
                  <c:v>251</c:v>
                </c:pt>
                <c:pt idx="75">
                  <c:v>194</c:v>
                </c:pt>
                <c:pt idx="76">
                  <c:v>556</c:v>
                </c:pt>
                <c:pt idx="77">
                  <c:v>183</c:v>
                </c:pt>
                <c:pt idx="78">
                  <c:v>430</c:v>
                </c:pt>
                <c:pt idx="79">
                  <c:v>394</c:v>
                </c:pt>
                <c:pt idx="80">
                  <c:v>358</c:v>
                </c:pt>
                <c:pt idx="81">
                  <c:v>129</c:v>
                </c:pt>
                <c:pt idx="82">
                  <c:v>108</c:v>
                </c:pt>
                <c:pt idx="83">
                  <c:v>519</c:v>
                </c:pt>
                <c:pt idx="84">
                  <c:v>303</c:v>
                </c:pt>
                <c:pt idx="85">
                  <c:v>215</c:v>
                </c:pt>
                <c:pt idx="86">
                  <c:v>248</c:v>
                </c:pt>
                <c:pt idx="87">
                  <c:v>219</c:v>
                </c:pt>
                <c:pt idx="88">
                  <c:v>101</c:v>
                </c:pt>
                <c:pt idx="89">
                  <c:v>43</c:v>
                </c:pt>
                <c:pt idx="90">
                  <c:v>323</c:v>
                </c:pt>
                <c:pt idx="91">
                  <c:v>208</c:v>
                </c:pt>
                <c:pt idx="92">
                  <c:v>198</c:v>
                </c:pt>
                <c:pt idx="93">
                  <c:v>187</c:v>
                </c:pt>
                <c:pt idx="94">
                  <c:v>229</c:v>
                </c:pt>
                <c:pt idx="95">
                  <c:v>127</c:v>
                </c:pt>
                <c:pt idx="96">
                  <c:v>44</c:v>
                </c:pt>
                <c:pt idx="97">
                  <c:v>263</c:v>
                </c:pt>
                <c:pt idx="98">
                  <c:v>164</c:v>
                </c:pt>
                <c:pt idx="99">
                  <c:v>203</c:v>
                </c:pt>
                <c:pt idx="100">
                  <c:v>143</c:v>
                </c:pt>
                <c:pt idx="101">
                  <c:v>307</c:v>
                </c:pt>
                <c:pt idx="102">
                  <c:v>88</c:v>
                </c:pt>
                <c:pt idx="103">
                  <c:v>65</c:v>
                </c:pt>
                <c:pt idx="104">
                  <c:v>278</c:v>
                </c:pt>
                <c:pt idx="105">
                  <c:v>204</c:v>
                </c:pt>
                <c:pt idx="106">
                  <c:v>194</c:v>
                </c:pt>
                <c:pt idx="107">
                  <c:v>118</c:v>
                </c:pt>
                <c:pt idx="108">
                  <c:v>289</c:v>
                </c:pt>
                <c:pt idx="109">
                  <c:v>86</c:v>
                </c:pt>
                <c:pt idx="110">
                  <c:v>48</c:v>
                </c:pt>
                <c:pt idx="111">
                  <c:v>336</c:v>
                </c:pt>
                <c:pt idx="112">
                  <c:v>283</c:v>
                </c:pt>
                <c:pt idx="113">
                  <c:v>237</c:v>
                </c:pt>
                <c:pt idx="114">
                  <c:v>45</c:v>
                </c:pt>
                <c:pt idx="115">
                  <c:v>115</c:v>
                </c:pt>
                <c:pt idx="116">
                  <c:v>126</c:v>
                </c:pt>
                <c:pt idx="117">
                  <c:v>142</c:v>
                </c:pt>
                <c:pt idx="118">
                  <c:v>354</c:v>
                </c:pt>
                <c:pt idx="119">
                  <c:v>330</c:v>
                </c:pt>
                <c:pt idx="120">
                  <c:v>251</c:v>
                </c:pt>
                <c:pt idx="121">
                  <c:v>217</c:v>
                </c:pt>
                <c:pt idx="122">
                  <c:v>92</c:v>
                </c:pt>
                <c:pt idx="123">
                  <c:v>116</c:v>
                </c:pt>
                <c:pt idx="124">
                  <c:v>75</c:v>
                </c:pt>
                <c:pt idx="125">
                  <c:v>530</c:v>
                </c:pt>
                <c:pt idx="126">
                  <c:v>294</c:v>
                </c:pt>
                <c:pt idx="127">
                  <c:v>275</c:v>
                </c:pt>
                <c:pt idx="128">
                  <c:v>328</c:v>
                </c:pt>
                <c:pt idx="129">
                  <c:v>304</c:v>
                </c:pt>
                <c:pt idx="130">
                  <c:v>108</c:v>
                </c:pt>
                <c:pt idx="131">
                  <c:v>52</c:v>
                </c:pt>
                <c:pt idx="132">
                  <c:v>464</c:v>
                </c:pt>
                <c:pt idx="133">
                  <c:v>220</c:v>
                </c:pt>
                <c:pt idx="134">
                  <c:v>281</c:v>
                </c:pt>
                <c:pt idx="135">
                  <c:v>150</c:v>
                </c:pt>
                <c:pt idx="136">
                  <c:v>148</c:v>
                </c:pt>
                <c:pt idx="137">
                  <c:v>66</c:v>
                </c:pt>
                <c:pt idx="138">
                  <c:v>71</c:v>
                </c:pt>
                <c:pt idx="139">
                  <c:v>282</c:v>
                </c:pt>
                <c:pt idx="140">
                  <c:v>152</c:v>
                </c:pt>
                <c:pt idx="141">
                  <c:v>217</c:v>
                </c:pt>
                <c:pt idx="142">
                  <c:v>164</c:v>
                </c:pt>
                <c:pt idx="143">
                  <c:v>192</c:v>
                </c:pt>
                <c:pt idx="144">
                  <c:v>79</c:v>
                </c:pt>
                <c:pt idx="145">
                  <c:v>35</c:v>
                </c:pt>
                <c:pt idx="146">
                  <c:v>174</c:v>
                </c:pt>
                <c:pt idx="147">
                  <c:v>117</c:v>
                </c:pt>
                <c:pt idx="148">
                  <c:v>150</c:v>
                </c:pt>
                <c:pt idx="149">
                  <c:v>97</c:v>
                </c:pt>
                <c:pt idx="150">
                  <c:v>82</c:v>
                </c:pt>
                <c:pt idx="151">
                  <c:v>78</c:v>
                </c:pt>
                <c:pt idx="152">
                  <c:v>18</c:v>
                </c:pt>
                <c:pt idx="153">
                  <c:v>183</c:v>
                </c:pt>
                <c:pt idx="154">
                  <c:v>161</c:v>
                </c:pt>
                <c:pt idx="155">
                  <c:v>156</c:v>
                </c:pt>
                <c:pt idx="156">
                  <c:v>123</c:v>
                </c:pt>
                <c:pt idx="157">
                  <c:v>130</c:v>
                </c:pt>
                <c:pt idx="158">
                  <c:v>52</c:v>
                </c:pt>
                <c:pt idx="159">
                  <c:v>33</c:v>
                </c:pt>
                <c:pt idx="160">
                  <c:v>131</c:v>
                </c:pt>
                <c:pt idx="161">
                  <c:v>86</c:v>
                </c:pt>
                <c:pt idx="162">
                  <c:v>100</c:v>
                </c:pt>
                <c:pt idx="163">
                  <c:v>103</c:v>
                </c:pt>
                <c:pt idx="164">
                  <c:v>91</c:v>
                </c:pt>
                <c:pt idx="165">
                  <c:v>23</c:v>
                </c:pt>
                <c:pt idx="166">
                  <c:v>21</c:v>
                </c:pt>
                <c:pt idx="167">
                  <c:v>99</c:v>
                </c:pt>
                <c:pt idx="168">
                  <c:v>50</c:v>
                </c:pt>
                <c:pt idx="169">
                  <c:v>66</c:v>
                </c:pt>
                <c:pt idx="170">
                  <c:v>55</c:v>
                </c:pt>
                <c:pt idx="171">
                  <c:v>59</c:v>
                </c:pt>
                <c:pt idx="172">
                  <c:v>24</c:v>
                </c:pt>
                <c:pt idx="173">
                  <c:v>23</c:v>
                </c:pt>
                <c:pt idx="174">
                  <c:v>160</c:v>
                </c:pt>
                <c:pt idx="175">
                  <c:v>79</c:v>
                </c:pt>
                <c:pt idx="176">
                  <c:v>69</c:v>
                </c:pt>
                <c:pt idx="177">
                  <c:v>77</c:v>
                </c:pt>
                <c:pt idx="178">
                  <c:v>84</c:v>
                </c:pt>
                <c:pt idx="179">
                  <c:v>18</c:v>
                </c:pt>
                <c:pt idx="180">
                  <c:v>12</c:v>
                </c:pt>
                <c:pt idx="181">
                  <c:v>133</c:v>
                </c:pt>
                <c:pt idx="182">
                  <c:v>66</c:v>
                </c:pt>
                <c:pt idx="183">
                  <c:v>101</c:v>
                </c:pt>
                <c:pt idx="184">
                  <c:v>42</c:v>
                </c:pt>
                <c:pt idx="185">
                  <c:v>50</c:v>
                </c:pt>
                <c:pt idx="186">
                  <c:v>17</c:v>
                </c:pt>
                <c:pt idx="187">
                  <c:v>14</c:v>
                </c:pt>
                <c:pt idx="188">
                  <c:v>86</c:v>
                </c:pt>
                <c:pt idx="189">
                  <c:v>107</c:v>
                </c:pt>
                <c:pt idx="190">
                  <c:v>84</c:v>
                </c:pt>
                <c:pt idx="191">
                  <c:v>37</c:v>
                </c:pt>
                <c:pt idx="192">
                  <c:v>43</c:v>
                </c:pt>
                <c:pt idx="193">
                  <c:v>20</c:v>
                </c:pt>
                <c:pt idx="194">
                  <c:v>13</c:v>
                </c:pt>
                <c:pt idx="195">
                  <c:v>61</c:v>
                </c:pt>
                <c:pt idx="196">
                  <c:v>43</c:v>
                </c:pt>
                <c:pt idx="197">
                  <c:v>30</c:v>
                </c:pt>
                <c:pt idx="198">
                  <c:v>52</c:v>
                </c:pt>
                <c:pt idx="199">
                  <c:v>38</c:v>
                </c:pt>
                <c:pt idx="200">
                  <c:v>9</c:v>
                </c:pt>
                <c:pt idx="201">
                  <c:v>8</c:v>
                </c:pt>
                <c:pt idx="202">
                  <c:v>40</c:v>
                </c:pt>
                <c:pt idx="203">
                  <c:v>45</c:v>
                </c:pt>
                <c:pt idx="204">
                  <c:v>29</c:v>
                </c:pt>
                <c:pt idx="205">
                  <c:v>39</c:v>
                </c:pt>
                <c:pt idx="206">
                  <c:v>22</c:v>
                </c:pt>
                <c:pt idx="207">
                  <c:v>6</c:v>
                </c:pt>
                <c:pt idx="208">
                  <c:v>5</c:v>
                </c:pt>
                <c:pt idx="209">
                  <c:v>39</c:v>
                </c:pt>
                <c:pt idx="210">
                  <c:v>22</c:v>
                </c:pt>
                <c:pt idx="211">
                  <c:v>21</c:v>
                </c:pt>
                <c:pt idx="212">
                  <c:v>20</c:v>
                </c:pt>
                <c:pt idx="213">
                  <c:v>6</c:v>
                </c:pt>
                <c:pt idx="214">
                  <c:v>6</c:v>
                </c:pt>
                <c:pt idx="215">
                  <c:v>4</c:v>
                </c:pt>
                <c:pt idx="216">
                  <c:v>5</c:v>
                </c:pt>
                <c:pt idx="217">
                  <c:v>25</c:v>
                </c:pt>
                <c:pt idx="218">
                  <c:v>31</c:v>
                </c:pt>
                <c:pt idx="219">
                  <c:v>17</c:v>
                </c:pt>
                <c:pt idx="220">
                  <c:v>11</c:v>
                </c:pt>
                <c:pt idx="221">
                  <c:v>5</c:v>
                </c:pt>
                <c:pt idx="222">
                  <c:v>1</c:v>
                </c:pt>
                <c:pt idx="223">
                  <c:v>9</c:v>
                </c:pt>
                <c:pt idx="224">
                  <c:v>8</c:v>
                </c:pt>
                <c:pt idx="225">
                  <c:v>5</c:v>
                </c:pt>
                <c:pt idx="226">
                  <c:v>8</c:v>
                </c:pt>
                <c:pt idx="227">
                  <c:v>7</c:v>
                </c:pt>
                <c:pt idx="228">
                  <c:v>2</c:v>
                </c:pt>
                <c:pt idx="229">
                  <c:v>2</c:v>
                </c:pt>
                <c:pt idx="230">
                  <c:v>15</c:v>
                </c:pt>
                <c:pt idx="231">
                  <c:v>7</c:v>
                </c:pt>
                <c:pt idx="232">
                  <c:v>6</c:v>
                </c:pt>
                <c:pt idx="233">
                  <c:v>13</c:v>
                </c:pt>
                <c:pt idx="234">
                  <c:v>6</c:v>
                </c:pt>
                <c:pt idx="235">
                  <c:v>2</c:v>
                </c:pt>
                <c:pt idx="236">
                  <c:v>0</c:v>
                </c:pt>
                <c:pt idx="237">
                  <c:v>6</c:v>
                </c:pt>
                <c:pt idx="238">
                  <c:v>8</c:v>
                </c:pt>
                <c:pt idx="239">
                  <c:v>1</c:v>
                </c:pt>
                <c:pt idx="240">
                  <c:v>4</c:v>
                </c:pt>
                <c:pt idx="241">
                  <c:v>5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3</c:v>
                </c:pt>
                <c:pt idx="247">
                  <c:v>4</c:v>
                </c:pt>
                <c:pt idx="248">
                  <c:v>3</c:v>
                </c:pt>
                <c:pt idx="249">
                  <c:v>1</c:v>
                </c:pt>
                <c:pt idx="250">
                  <c:v>3</c:v>
                </c:pt>
                <c:pt idx="251">
                  <c:v>6</c:v>
                </c:pt>
                <c:pt idx="252">
                  <c:v>6</c:v>
                </c:pt>
                <c:pt idx="253">
                  <c:v>0</c:v>
                </c:pt>
                <c:pt idx="254">
                  <c:v>3</c:v>
                </c:pt>
                <c:pt idx="255">
                  <c:v>4</c:v>
                </c:pt>
                <c:pt idx="256">
                  <c:v>1</c:v>
                </c:pt>
                <c:pt idx="257">
                  <c:v>0</c:v>
                </c:pt>
                <c:pt idx="258">
                  <c:v>7</c:v>
                </c:pt>
                <c:pt idx="259">
                  <c:v>4</c:v>
                </c:pt>
                <c:pt idx="260">
                  <c:v>3</c:v>
                </c:pt>
                <c:pt idx="261">
                  <c:v>3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3</c:v>
                </c:pt>
                <c:pt idx="266">
                  <c:v>1</c:v>
                </c:pt>
                <c:pt idx="267">
                  <c:v>1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3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6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0</c:v>
                </c:pt>
                <c:pt idx="391">
                  <c:v>5</c:v>
                </c:pt>
                <c:pt idx="392">
                  <c:v>2</c:v>
                </c:pt>
                <c:pt idx="393">
                  <c:v>6</c:v>
                </c:pt>
                <c:pt idx="394">
                  <c:v>2</c:v>
                </c:pt>
                <c:pt idx="395">
                  <c:v>3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3</c:v>
                </c:pt>
                <c:pt idx="400">
                  <c:v>9</c:v>
                </c:pt>
                <c:pt idx="401">
                  <c:v>2</c:v>
                </c:pt>
                <c:pt idx="402">
                  <c:v>6</c:v>
                </c:pt>
                <c:pt idx="403">
                  <c:v>1</c:v>
                </c:pt>
                <c:pt idx="404">
                  <c:v>0</c:v>
                </c:pt>
                <c:pt idx="405">
                  <c:v>4</c:v>
                </c:pt>
                <c:pt idx="406">
                  <c:v>3</c:v>
                </c:pt>
                <c:pt idx="407">
                  <c:v>20</c:v>
                </c:pt>
                <c:pt idx="408">
                  <c:v>3</c:v>
                </c:pt>
                <c:pt idx="409">
                  <c:v>4</c:v>
                </c:pt>
                <c:pt idx="410">
                  <c:v>3</c:v>
                </c:pt>
                <c:pt idx="411">
                  <c:v>1</c:v>
                </c:pt>
                <c:pt idx="412">
                  <c:v>10</c:v>
                </c:pt>
                <c:pt idx="413">
                  <c:v>11</c:v>
                </c:pt>
                <c:pt idx="414">
                  <c:v>9</c:v>
                </c:pt>
                <c:pt idx="415" formatCode="General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17</c:f>
              <c:numCache>
                <c:formatCode>m/d/yyyy</c:formatCode>
                <c:ptCount val="41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</c:numCache>
            </c:numRef>
          </c:cat>
          <c:val>
            <c:numRef>
              <c:f>Sheet1!$B$2:$B$417</c:f>
              <c:numCache>
                <c:formatCode>#\ ##0_ ;\-#\ ##0\ </c:formatCode>
                <c:ptCount val="4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7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2</c:v>
                </c:pt>
                <c:pt idx="57">
                  <c:v>27</c:v>
                </c:pt>
                <c:pt idx="58">
                  <c:v>46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2</c:v>
                </c:pt>
                <c:pt idx="66">
                  <c:v>45</c:v>
                </c:pt>
                <c:pt idx="67">
                  <c:v>42</c:v>
                </c:pt>
                <c:pt idx="68">
                  <c:v>40</c:v>
                </c:pt>
                <c:pt idx="69">
                  <c:v>38</c:v>
                </c:pt>
                <c:pt idx="70">
                  <c:v>44</c:v>
                </c:pt>
                <c:pt idx="71">
                  <c:v>42</c:v>
                </c:pt>
                <c:pt idx="72">
                  <c:v>49</c:v>
                </c:pt>
                <c:pt idx="73">
                  <c:v>49</c:v>
                </c:pt>
                <c:pt idx="74">
                  <c:v>36</c:v>
                </c:pt>
                <c:pt idx="75">
                  <c:v>25</c:v>
                </c:pt>
                <c:pt idx="76">
                  <c:v>35</c:v>
                </c:pt>
                <c:pt idx="77">
                  <c:v>42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7</c:v>
                </c:pt>
                <c:pt idx="84">
                  <c:v>41</c:v>
                </c:pt>
                <c:pt idx="85">
                  <c:v>27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2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0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5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20</c:v>
                </c:pt>
                <c:pt idx="104">
                  <c:v>23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6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20</c:v>
                </c:pt>
                <c:pt idx="125">
                  <c:v>20</c:v>
                </c:pt>
                <c:pt idx="126">
                  <c:v>21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9</c:v>
                </c:pt>
                <c:pt idx="135">
                  <c:v>24</c:v>
                </c:pt>
                <c:pt idx="136">
                  <c:v>22</c:v>
                </c:pt>
                <c:pt idx="137">
                  <c:v>17</c:v>
                </c:pt>
                <c:pt idx="138">
                  <c:v>19</c:v>
                </c:pt>
                <c:pt idx="139">
                  <c:v>23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5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6</c:v>
                </c:pt>
                <c:pt idx="154">
                  <c:v>9</c:v>
                </c:pt>
                <c:pt idx="155">
                  <c:v>9</c:v>
                </c:pt>
                <c:pt idx="156">
                  <c:v>12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8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1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10</c:v>
                </c:pt>
                <c:pt idx="184">
                  <c:v>4</c:v>
                </c:pt>
                <c:pt idx="185">
                  <c:v>6</c:v>
                </c:pt>
                <c:pt idx="186">
                  <c:v>8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7</c:v>
                </c:pt>
                <c:pt idx="196">
                  <c:v>9</c:v>
                </c:pt>
                <c:pt idx="197">
                  <c:v>5</c:v>
                </c:pt>
                <c:pt idx="198">
                  <c:v>5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2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4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3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1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1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ospitalizace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318</c:f>
              <c:numCache>
                <c:formatCode>m/d/yyyy</c:formatCode>
                <c:ptCount val="317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40</c:v>
                </c:pt>
                <c:pt idx="254">
                  <c:v>44341</c:v>
                </c:pt>
                <c:pt idx="255">
                  <c:v>44342</c:v>
                </c:pt>
                <c:pt idx="256">
                  <c:v>44349</c:v>
                </c:pt>
                <c:pt idx="257">
                  <c:v>44350</c:v>
                </c:pt>
                <c:pt idx="258">
                  <c:v>44358</c:v>
                </c:pt>
                <c:pt idx="259">
                  <c:v>44364</c:v>
                </c:pt>
                <c:pt idx="260">
                  <c:v>44370</c:v>
                </c:pt>
                <c:pt idx="261">
                  <c:v>44371</c:v>
                </c:pt>
                <c:pt idx="262">
                  <c:v>44377</c:v>
                </c:pt>
                <c:pt idx="263">
                  <c:v>44378</c:v>
                </c:pt>
                <c:pt idx="264">
                  <c:v>44381</c:v>
                </c:pt>
                <c:pt idx="265">
                  <c:v>44385</c:v>
                </c:pt>
                <c:pt idx="266">
                  <c:v>44388</c:v>
                </c:pt>
                <c:pt idx="267">
                  <c:v>44398</c:v>
                </c:pt>
                <c:pt idx="268">
                  <c:v>44405</c:v>
                </c:pt>
                <c:pt idx="269">
                  <c:v>44416</c:v>
                </c:pt>
                <c:pt idx="270">
                  <c:v>44419</c:v>
                </c:pt>
                <c:pt idx="271">
                  <c:v>44424</c:v>
                </c:pt>
                <c:pt idx="272">
                  <c:v>44425</c:v>
                </c:pt>
                <c:pt idx="273">
                  <c:v>44427</c:v>
                </c:pt>
                <c:pt idx="274">
                  <c:v>44431</c:v>
                </c:pt>
                <c:pt idx="275">
                  <c:v>44434</c:v>
                </c:pt>
                <c:pt idx="276">
                  <c:v>44435</c:v>
                </c:pt>
                <c:pt idx="277">
                  <c:v>44436</c:v>
                </c:pt>
                <c:pt idx="278">
                  <c:v>44440</c:v>
                </c:pt>
                <c:pt idx="279">
                  <c:v>44441</c:v>
                </c:pt>
                <c:pt idx="280">
                  <c:v>44442</c:v>
                </c:pt>
                <c:pt idx="281">
                  <c:v>44443</c:v>
                </c:pt>
                <c:pt idx="282">
                  <c:v>44445</c:v>
                </c:pt>
                <c:pt idx="283">
                  <c:v>44446</c:v>
                </c:pt>
                <c:pt idx="284">
                  <c:v>44447</c:v>
                </c:pt>
                <c:pt idx="285">
                  <c:v>44448</c:v>
                </c:pt>
                <c:pt idx="286">
                  <c:v>44452</c:v>
                </c:pt>
                <c:pt idx="287">
                  <c:v>44453</c:v>
                </c:pt>
                <c:pt idx="288">
                  <c:v>44457</c:v>
                </c:pt>
                <c:pt idx="289">
                  <c:v>44459</c:v>
                </c:pt>
                <c:pt idx="290">
                  <c:v>44460</c:v>
                </c:pt>
                <c:pt idx="291">
                  <c:v>44461</c:v>
                </c:pt>
                <c:pt idx="292">
                  <c:v>44464</c:v>
                </c:pt>
                <c:pt idx="293">
                  <c:v>44466</c:v>
                </c:pt>
                <c:pt idx="294">
                  <c:v>44467</c:v>
                </c:pt>
                <c:pt idx="295">
                  <c:v>44468</c:v>
                </c:pt>
                <c:pt idx="296">
                  <c:v>44469</c:v>
                </c:pt>
                <c:pt idx="297">
                  <c:v>44470</c:v>
                </c:pt>
                <c:pt idx="298">
                  <c:v>44471</c:v>
                </c:pt>
                <c:pt idx="299">
                  <c:v>44472</c:v>
                </c:pt>
                <c:pt idx="300">
                  <c:v>44473</c:v>
                </c:pt>
                <c:pt idx="301">
                  <c:v>44474</c:v>
                </c:pt>
                <c:pt idx="302">
                  <c:v>44475</c:v>
                </c:pt>
                <c:pt idx="303">
                  <c:v>44476</c:v>
                </c:pt>
                <c:pt idx="304">
                  <c:v>44477</c:v>
                </c:pt>
                <c:pt idx="305">
                  <c:v>44478</c:v>
                </c:pt>
                <c:pt idx="306">
                  <c:v>44480</c:v>
                </c:pt>
                <c:pt idx="307">
                  <c:v>44481</c:v>
                </c:pt>
                <c:pt idx="308">
                  <c:v>44482</c:v>
                </c:pt>
                <c:pt idx="309">
                  <c:v>44483</c:v>
                </c:pt>
                <c:pt idx="310">
                  <c:v>44484</c:v>
                </c:pt>
                <c:pt idx="311">
                  <c:v>44485</c:v>
                </c:pt>
                <c:pt idx="312">
                  <c:v>44486</c:v>
                </c:pt>
                <c:pt idx="313">
                  <c:v>44487</c:v>
                </c:pt>
                <c:pt idx="314">
                  <c:v>44488</c:v>
                </c:pt>
                <c:pt idx="315">
                  <c:v>44489</c:v>
                </c:pt>
                <c:pt idx="316">
                  <c:v>44490</c:v>
                </c:pt>
              </c:numCache>
            </c:numRef>
          </c:cat>
          <c:val>
            <c:numRef>
              <c:f>Sheet1!$B$2:$B$318</c:f>
              <c:numCache>
                <c:formatCode>General</c:formatCode>
                <c:ptCount val="31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4</c:v>
                </c:pt>
                <c:pt idx="23">
                  <c:v>1</c:v>
                </c:pt>
                <c:pt idx="24">
                  <c:v>8</c:v>
                </c:pt>
                <c:pt idx="25">
                  <c:v>9</c:v>
                </c:pt>
                <c:pt idx="26">
                  <c:v>18</c:v>
                </c:pt>
                <c:pt idx="27">
                  <c:v>9</c:v>
                </c:pt>
                <c:pt idx="28">
                  <c:v>7</c:v>
                </c:pt>
                <c:pt idx="29">
                  <c:v>37</c:v>
                </c:pt>
                <c:pt idx="30">
                  <c:v>15</c:v>
                </c:pt>
                <c:pt idx="31">
                  <c:v>8</c:v>
                </c:pt>
                <c:pt idx="32">
                  <c:v>16</c:v>
                </c:pt>
                <c:pt idx="33">
                  <c:v>28</c:v>
                </c:pt>
                <c:pt idx="34">
                  <c:v>12</c:v>
                </c:pt>
                <c:pt idx="35">
                  <c:v>2</c:v>
                </c:pt>
                <c:pt idx="36">
                  <c:v>28</c:v>
                </c:pt>
                <c:pt idx="37">
                  <c:v>35</c:v>
                </c:pt>
                <c:pt idx="38">
                  <c:v>49</c:v>
                </c:pt>
                <c:pt idx="39">
                  <c:v>30</c:v>
                </c:pt>
                <c:pt idx="40">
                  <c:v>39</c:v>
                </c:pt>
                <c:pt idx="41">
                  <c:v>25</c:v>
                </c:pt>
                <c:pt idx="42">
                  <c:v>16</c:v>
                </c:pt>
                <c:pt idx="43">
                  <c:v>41</c:v>
                </c:pt>
                <c:pt idx="44">
                  <c:v>40</c:v>
                </c:pt>
                <c:pt idx="45">
                  <c:v>50</c:v>
                </c:pt>
                <c:pt idx="46">
                  <c:v>61</c:v>
                </c:pt>
                <c:pt idx="47">
                  <c:v>74</c:v>
                </c:pt>
                <c:pt idx="48">
                  <c:v>45</c:v>
                </c:pt>
                <c:pt idx="49">
                  <c:v>33</c:v>
                </c:pt>
                <c:pt idx="50">
                  <c:v>78</c:v>
                </c:pt>
                <c:pt idx="51">
                  <c:v>68</c:v>
                </c:pt>
                <c:pt idx="52">
                  <c:v>41</c:v>
                </c:pt>
                <c:pt idx="53">
                  <c:v>83</c:v>
                </c:pt>
                <c:pt idx="54">
                  <c:v>94</c:v>
                </c:pt>
                <c:pt idx="55">
                  <c:v>37</c:v>
                </c:pt>
                <c:pt idx="56">
                  <c:v>37</c:v>
                </c:pt>
                <c:pt idx="57">
                  <c:v>61</c:v>
                </c:pt>
                <c:pt idx="58">
                  <c:v>62</c:v>
                </c:pt>
                <c:pt idx="59">
                  <c:v>64</c:v>
                </c:pt>
                <c:pt idx="60">
                  <c:v>76</c:v>
                </c:pt>
                <c:pt idx="61">
                  <c:v>83</c:v>
                </c:pt>
                <c:pt idx="62">
                  <c:v>31</c:v>
                </c:pt>
                <c:pt idx="63">
                  <c:v>16</c:v>
                </c:pt>
                <c:pt idx="64">
                  <c:v>53</c:v>
                </c:pt>
                <c:pt idx="65">
                  <c:v>71</c:v>
                </c:pt>
                <c:pt idx="66">
                  <c:v>115</c:v>
                </c:pt>
                <c:pt idx="67">
                  <c:v>92</c:v>
                </c:pt>
                <c:pt idx="68">
                  <c:v>74</c:v>
                </c:pt>
                <c:pt idx="69">
                  <c:v>42</c:v>
                </c:pt>
                <c:pt idx="70">
                  <c:v>23</c:v>
                </c:pt>
                <c:pt idx="71">
                  <c:v>64</c:v>
                </c:pt>
                <c:pt idx="72">
                  <c:v>26</c:v>
                </c:pt>
                <c:pt idx="73">
                  <c:v>47</c:v>
                </c:pt>
                <c:pt idx="74">
                  <c:v>58</c:v>
                </c:pt>
                <c:pt idx="75">
                  <c:v>49</c:v>
                </c:pt>
                <c:pt idx="76">
                  <c:v>18</c:v>
                </c:pt>
                <c:pt idx="77">
                  <c:v>13</c:v>
                </c:pt>
                <c:pt idx="78">
                  <c:v>64</c:v>
                </c:pt>
                <c:pt idx="79">
                  <c:v>40</c:v>
                </c:pt>
                <c:pt idx="80">
                  <c:v>25</c:v>
                </c:pt>
                <c:pt idx="81">
                  <c:v>34</c:v>
                </c:pt>
                <c:pt idx="82">
                  <c:v>28</c:v>
                </c:pt>
                <c:pt idx="83">
                  <c:v>15</c:v>
                </c:pt>
                <c:pt idx="84">
                  <c:v>13</c:v>
                </c:pt>
                <c:pt idx="85">
                  <c:v>42</c:v>
                </c:pt>
                <c:pt idx="86">
                  <c:v>33</c:v>
                </c:pt>
                <c:pt idx="87">
                  <c:v>27</c:v>
                </c:pt>
                <c:pt idx="88">
                  <c:v>21</c:v>
                </c:pt>
                <c:pt idx="89">
                  <c:v>35</c:v>
                </c:pt>
                <c:pt idx="90">
                  <c:v>19</c:v>
                </c:pt>
                <c:pt idx="91">
                  <c:v>10</c:v>
                </c:pt>
                <c:pt idx="92">
                  <c:v>34</c:v>
                </c:pt>
                <c:pt idx="93">
                  <c:v>28</c:v>
                </c:pt>
                <c:pt idx="94">
                  <c:v>32</c:v>
                </c:pt>
                <c:pt idx="95">
                  <c:v>23</c:v>
                </c:pt>
                <c:pt idx="96">
                  <c:v>32</c:v>
                </c:pt>
                <c:pt idx="97">
                  <c:v>18</c:v>
                </c:pt>
                <c:pt idx="98">
                  <c:v>24</c:v>
                </c:pt>
                <c:pt idx="99">
                  <c:v>36</c:v>
                </c:pt>
                <c:pt idx="100">
                  <c:v>26</c:v>
                </c:pt>
                <c:pt idx="101">
                  <c:v>27</c:v>
                </c:pt>
                <c:pt idx="102">
                  <c:v>14</c:v>
                </c:pt>
                <c:pt idx="103">
                  <c:v>39</c:v>
                </c:pt>
                <c:pt idx="104">
                  <c:v>15</c:v>
                </c:pt>
                <c:pt idx="105">
                  <c:v>6</c:v>
                </c:pt>
                <c:pt idx="106">
                  <c:v>29</c:v>
                </c:pt>
                <c:pt idx="107">
                  <c:v>40</c:v>
                </c:pt>
                <c:pt idx="108">
                  <c:v>20</c:v>
                </c:pt>
                <c:pt idx="109">
                  <c:v>5</c:v>
                </c:pt>
                <c:pt idx="110">
                  <c:v>21</c:v>
                </c:pt>
                <c:pt idx="111">
                  <c:v>17</c:v>
                </c:pt>
                <c:pt idx="112">
                  <c:v>19</c:v>
                </c:pt>
                <c:pt idx="113">
                  <c:v>20</c:v>
                </c:pt>
                <c:pt idx="114">
                  <c:v>44</c:v>
                </c:pt>
                <c:pt idx="115">
                  <c:v>24</c:v>
                </c:pt>
                <c:pt idx="116">
                  <c:v>36</c:v>
                </c:pt>
                <c:pt idx="117">
                  <c:v>19</c:v>
                </c:pt>
                <c:pt idx="118">
                  <c:v>14</c:v>
                </c:pt>
                <c:pt idx="119">
                  <c:v>4</c:v>
                </c:pt>
                <c:pt idx="120">
                  <c:v>30</c:v>
                </c:pt>
                <c:pt idx="121">
                  <c:v>28</c:v>
                </c:pt>
                <c:pt idx="122">
                  <c:v>40</c:v>
                </c:pt>
                <c:pt idx="123">
                  <c:v>38</c:v>
                </c:pt>
                <c:pt idx="124">
                  <c:v>32</c:v>
                </c:pt>
                <c:pt idx="125">
                  <c:v>15</c:v>
                </c:pt>
                <c:pt idx="126">
                  <c:v>6</c:v>
                </c:pt>
                <c:pt idx="127">
                  <c:v>50</c:v>
                </c:pt>
                <c:pt idx="128">
                  <c:v>23</c:v>
                </c:pt>
                <c:pt idx="129">
                  <c:v>23</c:v>
                </c:pt>
                <c:pt idx="130">
                  <c:v>13</c:v>
                </c:pt>
                <c:pt idx="131">
                  <c:v>20</c:v>
                </c:pt>
                <c:pt idx="132">
                  <c:v>12</c:v>
                </c:pt>
                <c:pt idx="133">
                  <c:v>15</c:v>
                </c:pt>
                <c:pt idx="134">
                  <c:v>28</c:v>
                </c:pt>
                <c:pt idx="135">
                  <c:v>23</c:v>
                </c:pt>
                <c:pt idx="136">
                  <c:v>38</c:v>
                </c:pt>
                <c:pt idx="137">
                  <c:v>23</c:v>
                </c:pt>
                <c:pt idx="138">
                  <c:v>21</c:v>
                </c:pt>
                <c:pt idx="139">
                  <c:v>7</c:v>
                </c:pt>
                <c:pt idx="140">
                  <c:v>9</c:v>
                </c:pt>
                <c:pt idx="141">
                  <c:v>22</c:v>
                </c:pt>
                <c:pt idx="142">
                  <c:v>11</c:v>
                </c:pt>
                <c:pt idx="143">
                  <c:v>20</c:v>
                </c:pt>
                <c:pt idx="144">
                  <c:v>10</c:v>
                </c:pt>
                <c:pt idx="145">
                  <c:v>8</c:v>
                </c:pt>
                <c:pt idx="146">
                  <c:v>9</c:v>
                </c:pt>
                <c:pt idx="147">
                  <c:v>5</c:v>
                </c:pt>
                <c:pt idx="148">
                  <c:v>20</c:v>
                </c:pt>
                <c:pt idx="149">
                  <c:v>20</c:v>
                </c:pt>
                <c:pt idx="150">
                  <c:v>13</c:v>
                </c:pt>
                <c:pt idx="151">
                  <c:v>20</c:v>
                </c:pt>
                <c:pt idx="152">
                  <c:v>15</c:v>
                </c:pt>
                <c:pt idx="153">
                  <c:v>5</c:v>
                </c:pt>
                <c:pt idx="154">
                  <c:v>5</c:v>
                </c:pt>
                <c:pt idx="155">
                  <c:v>13</c:v>
                </c:pt>
                <c:pt idx="156">
                  <c:v>13</c:v>
                </c:pt>
                <c:pt idx="157">
                  <c:v>16</c:v>
                </c:pt>
                <c:pt idx="158">
                  <c:v>11</c:v>
                </c:pt>
                <c:pt idx="159">
                  <c:v>13</c:v>
                </c:pt>
                <c:pt idx="160">
                  <c:v>2</c:v>
                </c:pt>
                <c:pt idx="161">
                  <c:v>2</c:v>
                </c:pt>
                <c:pt idx="162">
                  <c:v>8</c:v>
                </c:pt>
                <c:pt idx="163">
                  <c:v>7</c:v>
                </c:pt>
                <c:pt idx="164">
                  <c:v>7</c:v>
                </c:pt>
                <c:pt idx="165">
                  <c:v>8</c:v>
                </c:pt>
                <c:pt idx="166">
                  <c:v>5</c:v>
                </c:pt>
                <c:pt idx="167">
                  <c:v>10</c:v>
                </c:pt>
                <c:pt idx="168">
                  <c:v>3</c:v>
                </c:pt>
                <c:pt idx="169">
                  <c:v>21</c:v>
                </c:pt>
                <c:pt idx="170">
                  <c:v>14</c:v>
                </c:pt>
                <c:pt idx="171">
                  <c:v>8</c:v>
                </c:pt>
                <c:pt idx="172">
                  <c:v>10</c:v>
                </c:pt>
                <c:pt idx="173">
                  <c:v>7</c:v>
                </c:pt>
                <c:pt idx="174">
                  <c:v>3</c:v>
                </c:pt>
                <c:pt idx="175">
                  <c:v>1</c:v>
                </c:pt>
                <c:pt idx="176">
                  <c:v>10</c:v>
                </c:pt>
                <c:pt idx="177">
                  <c:v>7</c:v>
                </c:pt>
                <c:pt idx="178">
                  <c:v>8</c:v>
                </c:pt>
                <c:pt idx="179">
                  <c:v>4</c:v>
                </c:pt>
                <c:pt idx="180">
                  <c:v>6</c:v>
                </c:pt>
                <c:pt idx="181">
                  <c:v>1</c:v>
                </c:pt>
                <c:pt idx="182">
                  <c:v>3</c:v>
                </c:pt>
                <c:pt idx="183">
                  <c:v>5</c:v>
                </c:pt>
                <c:pt idx="184">
                  <c:v>6</c:v>
                </c:pt>
                <c:pt idx="185">
                  <c:v>10</c:v>
                </c:pt>
                <c:pt idx="186">
                  <c:v>3</c:v>
                </c:pt>
                <c:pt idx="187">
                  <c:v>5</c:v>
                </c:pt>
                <c:pt idx="188">
                  <c:v>5</c:v>
                </c:pt>
                <c:pt idx="189">
                  <c:v>3</c:v>
                </c:pt>
                <c:pt idx="190">
                  <c:v>8</c:v>
                </c:pt>
                <c:pt idx="191">
                  <c:v>9</c:v>
                </c:pt>
                <c:pt idx="192">
                  <c:v>1</c:v>
                </c:pt>
                <c:pt idx="193">
                  <c:v>7</c:v>
                </c:pt>
                <c:pt idx="194">
                  <c:v>11</c:v>
                </c:pt>
                <c:pt idx="195">
                  <c:v>2</c:v>
                </c:pt>
                <c:pt idx="196">
                  <c:v>2</c:v>
                </c:pt>
                <c:pt idx="197">
                  <c:v>5</c:v>
                </c:pt>
                <c:pt idx="198">
                  <c:v>5</c:v>
                </c:pt>
                <c:pt idx="199">
                  <c:v>2</c:v>
                </c:pt>
                <c:pt idx="200">
                  <c:v>2</c:v>
                </c:pt>
                <c:pt idx="201">
                  <c:v>1</c:v>
                </c:pt>
                <c:pt idx="202">
                  <c:v>2</c:v>
                </c:pt>
                <c:pt idx="203">
                  <c:v>0</c:v>
                </c:pt>
                <c:pt idx="204">
                  <c:v>2</c:v>
                </c:pt>
                <c:pt idx="205">
                  <c:v>0</c:v>
                </c:pt>
                <c:pt idx="206">
                  <c:v>0</c:v>
                </c:pt>
                <c:pt idx="207">
                  <c:v>2</c:v>
                </c:pt>
                <c:pt idx="208">
                  <c:v>1</c:v>
                </c:pt>
                <c:pt idx="209">
                  <c:v>2</c:v>
                </c:pt>
                <c:pt idx="210">
                  <c:v>2</c:v>
                </c:pt>
                <c:pt idx="211">
                  <c:v>0</c:v>
                </c:pt>
                <c:pt idx="212">
                  <c:v>0</c:v>
                </c:pt>
                <c:pt idx="213">
                  <c:v>3</c:v>
                </c:pt>
                <c:pt idx="214">
                  <c:v>0</c:v>
                </c:pt>
                <c:pt idx="215">
                  <c:v>1</c:v>
                </c:pt>
                <c:pt idx="216">
                  <c:v>0</c:v>
                </c:pt>
                <c:pt idx="217">
                  <c:v>0</c:v>
                </c:pt>
                <c:pt idx="218">
                  <c:v>1</c:v>
                </c:pt>
                <c:pt idx="219">
                  <c:v>3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1</c:v>
                </c:pt>
                <c:pt idx="226">
                  <c:v>1</c:v>
                </c:pt>
                <c:pt idx="227">
                  <c:v>2</c:v>
                </c:pt>
                <c:pt idx="228">
                  <c:v>2</c:v>
                </c:pt>
                <c:pt idx="229">
                  <c:v>1</c:v>
                </c:pt>
                <c:pt idx="230">
                  <c:v>0</c:v>
                </c:pt>
                <c:pt idx="231">
                  <c:v>0</c:v>
                </c:pt>
                <c:pt idx="232">
                  <c:v>4</c:v>
                </c:pt>
                <c:pt idx="233">
                  <c:v>0</c:v>
                </c:pt>
                <c:pt idx="234">
                  <c:v>1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1</c:v>
                </c:pt>
                <c:pt idx="242">
                  <c:v>0</c:v>
                </c:pt>
                <c:pt idx="243">
                  <c:v>2</c:v>
                </c:pt>
                <c:pt idx="244">
                  <c:v>3</c:v>
                </c:pt>
                <c:pt idx="245">
                  <c:v>1</c:v>
                </c:pt>
                <c:pt idx="246">
                  <c:v>1</c:v>
                </c:pt>
                <c:pt idx="247">
                  <c:v>2</c:v>
                </c:pt>
                <c:pt idx="248">
                  <c:v>1</c:v>
                </c:pt>
                <c:pt idx="249">
                  <c:v>1</c:v>
                </c:pt>
                <c:pt idx="250">
                  <c:v>0</c:v>
                </c:pt>
                <c:pt idx="251">
                  <c:v>2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2</c:v>
                </c:pt>
                <c:pt idx="257">
                  <c:v>1</c:v>
                </c:pt>
                <c:pt idx="258">
                  <c:v>0</c:v>
                </c:pt>
                <c:pt idx="259">
                  <c:v>1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1</c:v>
                </c:pt>
                <c:pt idx="265">
                  <c:v>1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1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2</c:v>
                </c:pt>
                <c:pt idx="279">
                  <c:v>2</c:v>
                </c:pt>
                <c:pt idx="280">
                  <c:v>1</c:v>
                </c:pt>
                <c:pt idx="281">
                  <c:v>0</c:v>
                </c:pt>
                <c:pt idx="282">
                  <c:v>2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1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1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3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1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1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75794495043021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318</c:f>
              <c:numCache>
                <c:formatCode>m/d/yyyy</c:formatCode>
                <c:ptCount val="317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40</c:v>
                </c:pt>
                <c:pt idx="254">
                  <c:v>44341</c:v>
                </c:pt>
                <c:pt idx="255">
                  <c:v>44342</c:v>
                </c:pt>
                <c:pt idx="256">
                  <c:v>44349</c:v>
                </c:pt>
                <c:pt idx="257">
                  <c:v>44350</c:v>
                </c:pt>
                <c:pt idx="258">
                  <c:v>44358</c:v>
                </c:pt>
                <c:pt idx="259">
                  <c:v>44364</c:v>
                </c:pt>
                <c:pt idx="260">
                  <c:v>44370</c:v>
                </c:pt>
                <c:pt idx="261">
                  <c:v>44371</c:v>
                </c:pt>
                <c:pt idx="262">
                  <c:v>44377</c:v>
                </c:pt>
                <c:pt idx="263">
                  <c:v>44378</c:v>
                </c:pt>
                <c:pt idx="264">
                  <c:v>44381</c:v>
                </c:pt>
                <c:pt idx="265">
                  <c:v>44385</c:v>
                </c:pt>
                <c:pt idx="266">
                  <c:v>44388</c:v>
                </c:pt>
                <c:pt idx="267">
                  <c:v>44398</c:v>
                </c:pt>
                <c:pt idx="268">
                  <c:v>44405</c:v>
                </c:pt>
                <c:pt idx="269">
                  <c:v>44416</c:v>
                </c:pt>
                <c:pt idx="270">
                  <c:v>44419</c:v>
                </c:pt>
                <c:pt idx="271">
                  <c:v>44424</c:v>
                </c:pt>
                <c:pt idx="272">
                  <c:v>44425</c:v>
                </c:pt>
                <c:pt idx="273">
                  <c:v>44427</c:v>
                </c:pt>
                <c:pt idx="274">
                  <c:v>44431</c:v>
                </c:pt>
                <c:pt idx="275">
                  <c:v>44434</c:v>
                </c:pt>
                <c:pt idx="276">
                  <c:v>44435</c:v>
                </c:pt>
                <c:pt idx="277">
                  <c:v>44436</c:v>
                </c:pt>
                <c:pt idx="278">
                  <c:v>44440</c:v>
                </c:pt>
                <c:pt idx="279">
                  <c:v>44441</c:v>
                </c:pt>
                <c:pt idx="280">
                  <c:v>44442</c:v>
                </c:pt>
                <c:pt idx="281">
                  <c:v>44443</c:v>
                </c:pt>
                <c:pt idx="282">
                  <c:v>44445</c:v>
                </c:pt>
                <c:pt idx="283">
                  <c:v>44446</c:v>
                </c:pt>
                <c:pt idx="284">
                  <c:v>44447</c:v>
                </c:pt>
                <c:pt idx="285">
                  <c:v>44448</c:v>
                </c:pt>
                <c:pt idx="286">
                  <c:v>44452</c:v>
                </c:pt>
                <c:pt idx="287">
                  <c:v>44453</c:v>
                </c:pt>
                <c:pt idx="288">
                  <c:v>44457</c:v>
                </c:pt>
                <c:pt idx="289">
                  <c:v>44459</c:v>
                </c:pt>
                <c:pt idx="290">
                  <c:v>44460</c:v>
                </c:pt>
                <c:pt idx="291">
                  <c:v>44461</c:v>
                </c:pt>
                <c:pt idx="292">
                  <c:v>44464</c:v>
                </c:pt>
                <c:pt idx="293">
                  <c:v>44466</c:v>
                </c:pt>
                <c:pt idx="294">
                  <c:v>44467</c:v>
                </c:pt>
                <c:pt idx="295">
                  <c:v>44468</c:v>
                </c:pt>
                <c:pt idx="296">
                  <c:v>44469</c:v>
                </c:pt>
                <c:pt idx="297">
                  <c:v>44470</c:v>
                </c:pt>
                <c:pt idx="298">
                  <c:v>44471</c:v>
                </c:pt>
                <c:pt idx="299">
                  <c:v>44472</c:v>
                </c:pt>
                <c:pt idx="300">
                  <c:v>44473</c:v>
                </c:pt>
                <c:pt idx="301">
                  <c:v>44474</c:v>
                </c:pt>
                <c:pt idx="302">
                  <c:v>44475</c:v>
                </c:pt>
                <c:pt idx="303">
                  <c:v>44476</c:v>
                </c:pt>
                <c:pt idx="304">
                  <c:v>44477</c:v>
                </c:pt>
                <c:pt idx="305">
                  <c:v>44478</c:v>
                </c:pt>
                <c:pt idx="306">
                  <c:v>44480</c:v>
                </c:pt>
                <c:pt idx="307">
                  <c:v>44481</c:v>
                </c:pt>
                <c:pt idx="308">
                  <c:v>44482</c:v>
                </c:pt>
                <c:pt idx="309">
                  <c:v>44483</c:v>
                </c:pt>
                <c:pt idx="310">
                  <c:v>44484</c:v>
                </c:pt>
                <c:pt idx="311">
                  <c:v>44485</c:v>
                </c:pt>
                <c:pt idx="312">
                  <c:v>44486</c:v>
                </c:pt>
                <c:pt idx="313">
                  <c:v>44487</c:v>
                </c:pt>
                <c:pt idx="314">
                  <c:v>44488</c:v>
                </c:pt>
                <c:pt idx="315">
                  <c:v>44489</c:v>
                </c:pt>
                <c:pt idx="316">
                  <c:v>44490</c:v>
                </c:pt>
              </c:numCache>
            </c:numRef>
          </c:cat>
          <c:val>
            <c:numRef>
              <c:f>Sheet1!$B$2:$B$318</c:f>
              <c:numCache>
                <c:formatCode>General</c:formatCode>
                <c:ptCount val="31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  <c:pt idx="24">
                  <c:v>4</c:v>
                </c:pt>
                <c:pt idx="25">
                  <c:v>4</c:v>
                </c:pt>
                <c:pt idx="26">
                  <c:v>7</c:v>
                </c:pt>
                <c:pt idx="27">
                  <c:v>5</c:v>
                </c:pt>
                <c:pt idx="28">
                  <c:v>5</c:v>
                </c:pt>
                <c:pt idx="29">
                  <c:v>22</c:v>
                </c:pt>
                <c:pt idx="30">
                  <c:v>8</c:v>
                </c:pt>
                <c:pt idx="31">
                  <c:v>7</c:v>
                </c:pt>
                <c:pt idx="32">
                  <c:v>2</c:v>
                </c:pt>
                <c:pt idx="33">
                  <c:v>7</c:v>
                </c:pt>
                <c:pt idx="34">
                  <c:v>3</c:v>
                </c:pt>
                <c:pt idx="35">
                  <c:v>0</c:v>
                </c:pt>
                <c:pt idx="36">
                  <c:v>8</c:v>
                </c:pt>
                <c:pt idx="37">
                  <c:v>13</c:v>
                </c:pt>
                <c:pt idx="38">
                  <c:v>13</c:v>
                </c:pt>
                <c:pt idx="39">
                  <c:v>14</c:v>
                </c:pt>
                <c:pt idx="40">
                  <c:v>17</c:v>
                </c:pt>
                <c:pt idx="41">
                  <c:v>9</c:v>
                </c:pt>
                <c:pt idx="42">
                  <c:v>5</c:v>
                </c:pt>
                <c:pt idx="43">
                  <c:v>18</c:v>
                </c:pt>
                <c:pt idx="44">
                  <c:v>14</c:v>
                </c:pt>
                <c:pt idx="45">
                  <c:v>20</c:v>
                </c:pt>
                <c:pt idx="46">
                  <c:v>18</c:v>
                </c:pt>
                <c:pt idx="47">
                  <c:v>27</c:v>
                </c:pt>
                <c:pt idx="48">
                  <c:v>7</c:v>
                </c:pt>
                <c:pt idx="49">
                  <c:v>7</c:v>
                </c:pt>
                <c:pt idx="50">
                  <c:v>28</c:v>
                </c:pt>
                <c:pt idx="51">
                  <c:v>17</c:v>
                </c:pt>
                <c:pt idx="52">
                  <c:v>11</c:v>
                </c:pt>
                <c:pt idx="53">
                  <c:v>20</c:v>
                </c:pt>
                <c:pt idx="54">
                  <c:v>27</c:v>
                </c:pt>
                <c:pt idx="55">
                  <c:v>9</c:v>
                </c:pt>
                <c:pt idx="56">
                  <c:v>14</c:v>
                </c:pt>
                <c:pt idx="57">
                  <c:v>15</c:v>
                </c:pt>
                <c:pt idx="58">
                  <c:v>12</c:v>
                </c:pt>
                <c:pt idx="59">
                  <c:v>21</c:v>
                </c:pt>
                <c:pt idx="60">
                  <c:v>9</c:v>
                </c:pt>
                <c:pt idx="61">
                  <c:v>15</c:v>
                </c:pt>
                <c:pt idx="62">
                  <c:v>10</c:v>
                </c:pt>
                <c:pt idx="63">
                  <c:v>6</c:v>
                </c:pt>
                <c:pt idx="64">
                  <c:v>10</c:v>
                </c:pt>
                <c:pt idx="65">
                  <c:v>16</c:v>
                </c:pt>
                <c:pt idx="66">
                  <c:v>25</c:v>
                </c:pt>
                <c:pt idx="67">
                  <c:v>14</c:v>
                </c:pt>
                <c:pt idx="68">
                  <c:v>18</c:v>
                </c:pt>
                <c:pt idx="69">
                  <c:v>9</c:v>
                </c:pt>
                <c:pt idx="70">
                  <c:v>4</c:v>
                </c:pt>
                <c:pt idx="71">
                  <c:v>17</c:v>
                </c:pt>
                <c:pt idx="72">
                  <c:v>9</c:v>
                </c:pt>
                <c:pt idx="73">
                  <c:v>13</c:v>
                </c:pt>
                <c:pt idx="74">
                  <c:v>11</c:v>
                </c:pt>
                <c:pt idx="75">
                  <c:v>13</c:v>
                </c:pt>
                <c:pt idx="76">
                  <c:v>4</c:v>
                </c:pt>
                <c:pt idx="77">
                  <c:v>3</c:v>
                </c:pt>
                <c:pt idx="78">
                  <c:v>14</c:v>
                </c:pt>
                <c:pt idx="79">
                  <c:v>9</c:v>
                </c:pt>
                <c:pt idx="80">
                  <c:v>7</c:v>
                </c:pt>
                <c:pt idx="81">
                  <c:v>9</c:v>
                </c:pt>
                <c:pt idx="82">
                  <c:v>5</c:v>
                </c:pt>
                <c:pt idx="83">
                  <c:v>1</c:v>
                </c:pt>
                <c:pt idx="84">
                  <c:v>2</c:v>
                </c:pt>
                <c:pt idx="85">
                  <c:v>10</c:v>
                </c:pt>
                <c:pt idx="86">
                  <c:v>9</c:v>
                </c:pt>
                <c:pt idx="87">
                  <c:v>5</c:v>
                </c:pt>
                <c:pt idx="88">
                  <c:v>2</c:v>
                </c:pt>
                <c:pt idx="89">
                  <c:v>8</c:v>
                </c:pt>
                <c:pt idx="90">
                  <c:v>2</c:v>
                </c:pt>
                <c:pt idx="91">
                  <c:v>1</c:v>
                </c:pt>
                <c:pt idx="92">
                  <c:v>3</c:v>
                </c:pt>
                <c:pt idx="93">
                  <c:v>4</c:v>
                </c:pt>
                <c:pt idx="94">
                  <c:v>6</c:v>
                </c:pt>
                <c:pt idx="95">
                  <c:v>5</c:v>
                </c:pt>
                <c:pt idx="96">
                  <c:v>6</c:v>
                </c:pt>
                <c:pt idx="97">
                  <c:v>3</c:v>
                </c:pt>
                <c:pt idx="98">
                  <c:v>3</c:v>
                </c:pt>
                <c:pt idx="99">
                  <c:v>4</c:v>
                </c:pt>
                <c:pt idx="100">
                  <c:v>2</c:v>
                </c:pt>
                <c:pt idx="101">
                  <c:v>6</c:v>
                </c:pt>
                <c:pt idx="102">
                  <c:v>3</c:v>
                </c:pt>
                <c:pt idx="103">
                  <c:v>7</c:v>
                </c:pt>
                <c:pt idx="104">
                  <c:v>6</c:v>
                </c:pt>
                <c:pt idx="105">
                  <c:v>1</c:v>
                </c:pt>
                <c:pt idx="106">
                  <c:v>5</c:v>
                </c:pt>
                <c:pt idx="107">
                  <c:v>10</c:v>
                </c:pt>
                <c:pt idx="108">
                  <c:v>2</c:v>
                </c:pt>
                <c:pt idx="109">
                  <c:v>1</c:v>
                </c:pt>
                <c:pt idx="110">
                  <c:v>6</c:v>
                </c:pt>
                <c:pt idx="111">
                  <c:v>5</c:v>
                </c:pt>
                <c:pt idx="112">
                  <c:v>7</c:v>
                </c:pt>
                <c:pt idx="113">
                  <c:v>4</c:v>
                </c:pt>
                <c:pt idx="114">
                  <c:v>6</c:v>
                </c:pt>
                <c:pt idx="115">
                  <c:v>7</c:v>
                </c:pt>
                <c:pt idx="116">
                  <c:v>7</c:v>
                </c:pt>
                <c:pt idx="117">
                  <c:v>4</c:v>
                </c:pt>
                <c:pt idx="118">
                  <c:v>5</c:v>
                </c:pt>
                <c:pt idx="119">
                  <c:v>1</c:v>
                </c:pt>
                <c:pt idx="120">
                  <c:v>9</c:v>
                </c:pt>
                <c:pt idx="121">
                  <c:v>5</c:v>
                </c:pt>
                <c:pt idx="122">
                  <c:v>8</c:v>
                </c:pt>
                <c:pt idx="123">
                  <c:v>7</c:v>
                </c:pt>
                <c:pt idx="124">
                  <c:v>8</c:v>
                </c:pt>
                <c:pt idx="125">
                  <c:v>3</c:v>
                </c:pt>
                <c:pt idx="126">
                  <c:v>2</c:v>
                </c:pt>
                <c:pt idx="127">
                  <c:v>7</c:v>
                </c:pt>
                <c:pt idx="128">
                  <c:v>3</c:v>
                </c:pt>
                <c:pt idx="129">
                  <c:v>3</c:v>
                </c:pt>
                <c:pt idx="130">
                  <c:v>3</c:v>
                </c:pt>
                <c:pt idx="131">
                  <c:v>12</c:v>
                </c:pt>
                <c:pt idx="132">
                  <c:v>4</c:v>
                </c:pt>
                <c:pt idx="133">
                  <c:v>2</c:v>
                </c:pt>
                <c:pt idx="134">
                  <c:v>5</c:v>
                </c:pt>
                <c:pt idx="135">
                  <c:v>4</c:v>
                </c:pt>
                <c:pt idx="136">
                  <c:v>8</c:v>
                </c:pt>
                <c:pt idx="137">
                  <c:v>5</c:v>
                </c:pt>
                <c:pt idx="138">
                  <c:v>5</c:v>
                </c:pt>
                <c:pt idx="139">
                  <c:v>0</c:v>
                </c:pt>
                <c:pt idx="140">
                  <c:v>3</c:v>
                </c:pt>
                <c:pt idx="141">
                  <c:v>8</c:v>
                </c:pt>
                <c:pt idx="142">
                  <c:v>1</c:v>
                </c:pt>
                <c:pt idx="143">
                  <c:v>1</c:v>
                </c:pt>
                <c:pt idx="144">
                  <c:v>2</c:v>
                </c:pt>
                <c:pt idx="145">
                  <c:v>1</c:v>
                </c:pt>
                <c:pt idx="146">
                  <c:v>2</c:v>
                </c:pt>
                <c:pt idx="147">
                  <c:v>1</c:v>
                </c:pt>
                <c:pt idx="148">
                  <c:v>3</c:v>
                </c:pt>
                <c:pt idx="149">
                  <c:v>3</c:v>
                </c:pt>
                <c:pt idx="150">
                  <c:v>2</c:v>
                </c:pt>
                <c:pt idx="151">
                  <c:v>4</c:v>
                </c:pt>
                <c:pt idx="152">
                  <c:v>2</c:v>
                </c:pt>
                <c:pt idx="153">
                  <c:v>3</c:v>
                </c:pt>
                <c:pt idx="154">
                  <c:v>1</c:v>
                </c:pt>
                <c:pt idx="155">
                  <c:v>2</c:v>
                </c:pt>
                <c:pt idx="156">
                  <c:v>1</c:v>
                </c:pt>
                <c:pt idx="157">
                  <c:v>2</c:v>
                </c:pt>
                <c:pt idx="158">
                  <c:v>3</c:v>
                </c:pt>
                <c:pt idx="159">
                  <c:v>3</c:v>
                </c:pt>
                <c:pt idx="160">
                  <c:v>0</c:v>
                </c:pt>
                <c:pt idx="161">
                  <c:v>0</c:v>
                </c:pt>
                <c:pt idx="162">
                  <c:v>2</c:v>
                </c:pt>
                <c:pt idx="163">
                  <c:v>2</c:v>
                </c:pt>
                <c:pt idx="164">
                  <c:v>3</c:v>
                </c:pt>
                <c:pt idx="165">
                  <c:v>2</c:v>
                </c:pt>
                <c:pt idx="166">
                  <c:v>0</c:v>
                </c:pt>
                <c:pt idx="167">
                  <c:v>6</c:v>
                </c:pt>
                <c:pt idx="168">
                  <c:v>0</c:v>
                </c:pt>
                <c:pt idx="169">
                  <c:v>1</c:v>
                </c:pt>
                <c:pt idx="170">
                  <c:v>3</c:v>
                </c:pt>
                <c:pt idx="171">
                  <c:v>2</c:v>
                </c:pt>
                <c:pt idx="172">
                  <c:v>0</c:v>
                </c:pt>
                <c:pt idx="173">
                  <c:v>1</c:v>
                </c:pt>
                <c:pt idx="174">
                  <c:v>1</c:v>
                </c:pt>
                <c:pt idx="175">
                  <c:v>0</c:v>
                </c:pt>
                <c:pt idx="176">
                  <c:v>2</c:v>
                </c:pt>
                <c:pt idx="177">
                  <c:v>4</c:v>
                </c:pt>
                <c:pt idx="178">
                  <c:v>1</c:v>
                </c:pt>
                <c:pt idx="179">
                  <c:v>1</c:v>
                </c:pt>
                <c:pt idx="180">
                  <c:v>2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2</c:v>
                </c:pt>
                <c:pt idx="185">
                  <c:v>4</c:v>
                </c:pt>
                <c:pt idx="186">
                  <c:v>1</c:v>
                </c:pt>
                <c:pt idx="187">
                  <c:v>0</c:v>
                </c:pt>
                <c:pt idx="188">
                  <c:v>1</c:v>
                </c:pt>
                <c:pt idx="189">
                  <c:v>1</c:v>
                </c:pt>
                <c:pt idx="190">
                  <c:v>0</c:v>
                </c:pt>
                <c:pt idx="191">
                  <c:v>2</c:v>
                </c:pt>
                <c:pt idx="192">
                  <c:v>0</c:v>
                </c:pt>
                <c:pt idx="193">
                  <c:v>2</c:v>
                </c:pt>
                <c:pt idx="194">
                  <c:v>0</c:v>
                </c:pt>
                <c:pt idx="195">
                  <c:v>0</c:v>
                </c:pt>
                <c:pt idx="196">
                  <c:v>1</c:v>
                </c:pt>
                <c:pt idx="197">
                  <c:v>2</c:v>
                </c:pt>
                <c:pt idx="198">
                  <c:v>1</c:v>
                </c:pt>
                <c:pt idx="199">
                  <c:v>0</c:v>
                </c:pt>
                <c:pt idx="200">
                  <c:v>1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2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2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1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324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5</c:v>
                </c:pt>
                <c:pt idx="1">
                  <c:v>29</c:v>
                </c:pt>
                <c:pt idx="2">
                  <c:v>48</c:v>
                </c:pt>
                <c:pt idx="3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A$1</c:f>
              <c:strCache>
                <c:ptCount val="78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1.10.</c:v>
                </c:pt>
              </c:strCache>
            </c:strRef>
          </c:cat>
          <c:val>
            <c:numRef>
              <c:f>List1!$B$2:$CA$2</c:f>
              <c:numCache>
                <c:formatCode>General</c:formatCode>
                <c:ptCount val="78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324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22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5</c:v>
                </c:pt>
                <c:pt idx="75">
                  <c:v>29</c:v>
                </c:pt>
                <c:pt idx="76">
                  <c:v>48</c:v>
                </c:pt>
                <c:pt idx="77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618014456868127</c:v>
                </c:pt>
                <c:pt idx="1">
                  <c:v>0.183819855431318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C4E-4B6D-BC39-F29FC08BBEF3}"/>
                </c:ext>
              </c:extLst>
            </c:dLbl>
            <c:dLbl>
              <c:idx val="1"/>
              <c:layout>
                <c:manualLayout>
                  <c:x val="3.6242943383260673E-2"/>
                  <c:y val="1.8940205351414698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C4E-4B6D-BC39-F29FC08BBE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79400000000000004</c:v>
                </c:pt>
                <c:pt idx="1">
                  <c:v>0.205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29351597816452135"/>
                  <c:y val="-0.1504213485063390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7.2488169768600615E-3"/>
                  <c:y val="2.582755275192913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65628160133246083</c:v>
                </c:pt>
                <c:pt idx="1">
                  <c:v>0.343718398667539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E22-41E2-BAC0-9FFA33A42325}"/>
                </c:ext>
              </c:extLst>
            </c:dLbl>
            <c:dLbl>
              <c:idx val="1"/>
              <c:layout>
                <c:manualLayout>
                  <c:x val="4.3491474984860841E-2"/>
                  <c:y val="5.1655105503858271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E22-41E2-BAC0-9FFA33A423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72912987247771488</c:v>
                </c:pt>
                <c:pt idx="1">
                  <c:v>0.270870127522285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-0.17591183084346251"/>
                  <c:y val="-0.2717817315082407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layout>
                <c:manualLayout>
                  <c:x val="2.3175630939048023E-2"/>
                  <c:y val="4.78356488275549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9887297798992314</c:v>
                </c:pt>
                <c:pt idx="1">
                  <c:v>1.127022010076902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4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4.10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5.xml"/><Relationship Id="rId4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6.xml"/><Relationship Id="rId7" Type="http://schemas.openxmlformats.org/officeDocument/2006/relationships/chart" Target="../charts/chart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chart" Target="../charts/char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4" Type="http://schemas.openxmlformats.org/officeDocument/2006/relationships/chart" Target="../charts/char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28600" y="434210"/>
            <a:ext cx="113270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Hlášení šíření nákazy v pobytových sociálních službách je</a:t>
            </a: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 ze strany poskytovatelů reprezentativní, celý systém dosahuje více než 81% pokrytí tohoto segmentu péče. Za celé období sledování od podzimu 2020 bylo registrováno přes </a:t>
            </a:r>
            <a:r>
              <a:rPr lang="cs-CZ" sz="2400" b="1" dirty="0">
                <a:latin typeface="Calibri" panose="020F0502020204030204"/>
              </a:rPr>
              <a:t>23 100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nakažených klientů a téměř </a:t>
            </a:r>
            <a:r>
              <a:rPr lang="cs-CZ" sz="2400" b="1" dirty="0">
                <a:latin typeface="Calibri" panose="020F0502020204030204"/>
              </a:rPr>
              <a:t>15 800 </a:t>
            </a: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nakažených pracovníků. Hlášení o úmrtích COVID pozitivních klientů přesáhlo </a:t>
            </a:r>
            <a:r>
              <a:rPr lang="cs-CZ" sz="2400" b="1" dirty="0">
                <a:latin typeface="Calibri" panose="020F0502020204030204"/>
              </a:rPr>
              <a:t>3 200</a:t>
            </a: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, pracovníků zemřelo 18. </a:t>
            </a:r>
            <a:endParaRPr lang="cs-CZ" sz="2400" dirty="0"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344420" y="2638833"/>
            <a:ext cx="1095375" cy="1114425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228600" y="4163781"/>
            <a:ext cx="116314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V </a:t>
            </a:r>
            <a:r>
              <a:rPr lang="cs-CZ" sz="2400" b="1" dirty="0">
                <a:solidFill>
                  <a:srgbClr val="C00000"/>
                </a:solidFill>
                <a:latin typeface="Calibri" panose="020F0502020204030204"/>
              </a:rPr>
              <a:t>říjnu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2021 je z těchto individuálních</a:t>
            </a: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hlášení patrný mírný nárůst počtu nakažených ve srovnání se zářím 2021. Za měsíc </a:t>
            </a:r>
            <a:r>
              <a:rPr lang="cs-CZ" sz="2400" b="1" dirty="0">
                <a:solidFill>
                  <a:srgbClr val="C00000"/>
                </a:solidFill>
                <a:latin typeface="Calibri" panose="020F0502020204030204"/>
              </a:rPr>
              <a:t>říjen </a:t>
            </a: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bylo nahlášeno </a:t>
            </a:r>
            <a:r>
              <a:rPr lang="cs-CZ" sz="2400" b="1" dirty="0">
                <a:solidFill>
                  <a:srgbClr val="C00000"/>
                </a:solidFill>
                <a:latin typeface="Calibri" panose="020F0502020204030204"/>
              </a:rPr>
              <a:t>54</a:t>
            </a: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nákaz pracovníků a </a:t>
            </a:r>
            <a:r>
              <a:rPr lang="cs-CZ" sz="2400" b="1" dirty="0">
                <a:solidFill>
                  <a:srgbClr val="C00000"/>
                </a:solidFill>
                <a:latin typeface="Calibri" panose="020F0502020204030204"/>
              </a:rPr>
              <a:t>47 </a:t>
            </a: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nákaz klientů pobytových sociálních služeb. Počet hlášených úmrtí dosáhnul v </a:t>
            </a:r>
            <a:r>
              <a:rPr lang="cs-CZ" sz="2400" b="1" dirty="0">
                <a:solidFill>
                  <a:srgbClr val="C00000"/>
                </a:solidFill>
                <a:latin typeface="Calibri" panose="020F0502020204030204"/>
              </a:rPr>
              <a:t>říjnu</a:t>
            </a: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hodnoty 4.</a:t>
            </a:r>
            <a:endParaRPr lang="cs-CZ" sz="2400" dirty="0">
              <a:solidFill>
                <a:srgbClr val="C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701706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37044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14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83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.2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6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.0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7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19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32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6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.8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7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3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1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40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62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/>
        </p:nvSpPr>
        <p:spPr>
          <a:xfrm>
            <a:off x="264696" y="907544"/>
            <a:ext cx="366258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K </a:t>
            </a:r>
            <a:r>
              <a:rPr lang="cs-CZ" dirty="0"/>
              <a:t>24</a:t>
            </a:r>
            <a:r>
              <a:rPr lang="en-US" dirty="0"/>
              <a:t>.1.2020 </a:t>
            </a:r>
            <a:r>
              <a:rPr lang="en-US" dirty="0" err="1"/>
              <a:t>bylo</a:t>
            </a:r>
            <a:r>
              <a:rPr lang="en-US" dirty="0"/>
              <a:t> v </a:t>
            </a:r>
            <a:r>
              <a:rPr lang="en-US" dirty="0" err="1"/>
              <a:t>dat</a:t>
            </a:r>
            <a:r>
              <a:rPr lang="cs-CZ" dirty="0" err="1"/>
              <a:t>abázi</a:t>
            </a:r>
            <a:r>
              <a:rPr lang="cs-CZ" dirty="0"/>
              <a:t> MPSV vedeno 4 160 zařízení  s 77 547 klienty a 102 575 pracovníky (Tyto údaje nejsou u všech zařízení zadány). Z tohoto počtu jich zadává do sociálního modulu ISIN 1 714 zařízení</a:t>
            </a:r>
            <a:r>
              <a:rPr lang="en-US" dirty="0"/>
              <a:t>. Z </a:t>
            </a:r>
            <a:r>
              <a:rPr lang="en-US" dirty="0" err="1"/>
              <a:t>hlediska</a:t>
            </a:r>
            <a:r>
              <a:rPr lang="en-US" dirty="0"/>
              <a:t> </a:t>
            </a:r>
            <a:r>
              <a:rPr lang="en-US" dirty="0" err="1"/>
              <a:t>osob</a:t>
            </a:r>
            <a:r>
              <a:rPr lang="en-US" dirty="0"/>
              <a:t> je </a:t>
            </a:r>
            <a:r>
              <a:rPr lang="en-US" dirty="0" err="1"/>
              <a:t>pokryt</a:t>
            </a:r>
            <a:r>
              <a:rPr lang="cs-CZ" dirty="0"/>
              <a:t>í</a:t>
            </a:r>
            <a:r>
              <a:rPr lang="en-US" dirty="0"/>
              <a:t> </a:t>
            </a:r>
            <a:r>
              <a:rPr lang="cs-CZ" dirty="0"/>
              <a:t>81,62</a:t>
            </a:r>
            <a:r>
              <a:rPr lang="en-US" dirty="0"/>
              <a:t>%</a:t>
            </a:r>
            <a:r>
              <a:rPr lang="cs-CZ" dirty="0"/>
              <a:t>.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/>
              <a:t>Zadávají</a:t>
            </a:r>
          </a:p>
          <a:p>
            <a:endParaRPr lang="cs-CZ" sz="1600" dirty="0"/>
          </a:p>
          <a:p>
            <a:r>
              <a:rPr lang="cs-CZ" sz="1600" dirty="0"/>
              <a:t>Nezadávají</a:t>
            </a:r>
          </a:p>
          <a:p>
            <a:r>
              <a:rPr lang="cs-CZ" sz="1600" dirty="0"/>
              <a:t>do sociálního </a:t>
            </a:r>
          </a:p>
          <a:p>
            <a:r>
              <a:rPr lang="cs-CZ" sz="1600" dirty="0"/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ISIN a ISIN – modul sociálních služeb, </a:t>
            </a:r>
            <a:r>
              <a:rPr lang="cs-CZ" sz="1200" b="1" dirty="0">
                <a:solidFill>
                  <a:srgbClr val="C00000"/>
                </a:solidFill>
              </a:rPr>
              <a:t>stav k 21. 10. 2021</a:t>
            </a:r>
          </a:p>
        </p:txBody>
      </p:sp>
    </p:spTree>
    <p:extLst>
      <p:ext uri="{BB962C8B-B14F-4D97-AF65-F5344CB8AC3E}">
        <p14:creationId xmlns:p14="http://schemas.microsoft.com/office/powerpoint/2010/main" val="14288282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3624" y="3303770"/>
          <a:ext cx="10232136" cy="3283720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Nakaženo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7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4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.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0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5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.1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8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1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.9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9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8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3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8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1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9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2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165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798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963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4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6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1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celkem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16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79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96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/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/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/>
              <a:t>Ostatní</a:t>
            </a:r>
          </a:p>
          <a:p>
            <a:endParaRPr lang="cs-CZ" sz="1600" dirty="0"/>
          </a:p>
          <a:p>
            <a:r>
              <a:rPr lang="cs-CZ" sz="1600" dirty="0"/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ISIN a ISIN – modul sociálních služeb, </a:t>
            </a:r>
            <a:r>
              <a:rPr lang="cs-CZ" sz="1200" b="1" dirty="0">
                <a:solidFill>
                  <a:srgbClr val="C00000"/>
                </a:solidFill>
              </a:rPr>
              <a:t>stav k 21. 10. 2021</a:t>
            </a:r>
          </a:p>
        </p:txBody>
      </p:sp>
    </p:spTree>
    <p:extLst>
      <p:ext uri="{BB962C8B-B14F-4D97-AF65-F5344CB8AC3E}">
        <p14:creationId xmlns:p14="http://schemas.microsoft.com/office/powerpoint/2010/main" val="253350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/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/>
              <a:t>Ostatní </a:t>
            </a:r>
            <a:br>
              <a:rPr lang="cs-CZ" sz="1600" dirty="0"/>
            </a:br>
            <a:r>
              <a:rPr lang="cs-CZ" sz="1600" dirty="0"/>
              <a:t>pozitivní</a:t>
            </a:r>
          </a:p>
          <a:p>
            <a:endParaRPr lang="cs-CZ" sz="1600" dirty="0"/>
          </a:p>
          <a:p>
            <a:endParaRPr lang="cs-CZ" sz="1600" dirty="0"/>
          </a:p>
          <a:p>
            <a:r>
              <a:rPr lang="cs-CZ" sz="1600" dirty="0"/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/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9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/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/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540765" y="2971287"/>
          <a:ext cx="10115198" cy="32761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Nakažení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</a:t>
                      </a:r>
                    </a:p>
                  </a:txBody>
                  <a:tcPr anchor="ctr">
                    <a:lnL w="12700" cmpd="sng">
                      <a:noFill/>
                    </a:lnL>
                    <a:lnB w="38100" cmpd="sng">
                      <a:noFill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T w="381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381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381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381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 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0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85 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4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4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0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2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5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4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5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2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1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0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66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3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963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91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593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8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ISIN a ISIN – modul sociálních služeb, </a:t>
            </a:r>
            <a:r>
              <a:rPr lang="cs-CZ" sz="1200" b="1" dirty="0">
                <a:solidFill>
                  <a:srgbClr val="C00000"/>
                </a:solidFill>
              </a:rPr>
              <a:t>stav k 21. 10. 2021</a:t>
            </a:r>
          </a:p>
        </p:txBody>
      </p:sp>
    </p:spTree>
    <p:extLst>
      <p:ext uri="{BB962C8B-B14F-4D97-AF65-F5344CB8AC3E}">
        <p14:creationId xmlns:p14="http://schemas.microsoft.com/office/powerpoint/2010/main" val="7430592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ISIN a ISIN – modul sociálních služeb, </a:t>
            </a:r>
            <a:r>
              <a:rPr lang="cs-CZ" sz="1200" b="1" dirty="0">
                <a:solidFill>
                  <a:srgbClr val="C00000"/>
                </a:solidFill>
              </a:rPr>
              <a:t>stav k 21. 10. 2021</a:t>
            </a:r>
          </a:p>
        </p:txBody>
      </p:sp>
    </p:spTree>
    <p:extLst>
      <p:ext uri="{BB962C8B-B14F-4D97-AF65-F5344CB8AC3E}">
        <p14:creationId xmlns:p14="http://schemas.microsoft.com/office/powerpoint/2010/main" val="16933852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/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/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ISIN a ISIN – modul sociálních služeb, </a:t>
            </a:r>
            <a:r>
              <a:rPr lang="cs-CZ" sz="1200" b="1" dirty="0">
                <a:solidFill>
                  <a:srgbClr val="C00000"/>
                </a:solidFill>
              </a:rPr>
              <a:t>stav k 21. 10. 2021</a:t>
            </a:r>
          </a:p>
        </p:txBody>
      </p:sp>
    </p:spTree>
    <p:extLst>
      <p:ext uri="{BB962C8B-B14F-4D97-AF65-F5344CB8AC3E}">
        <p14:creationId xmlns:p14="http://schemas.microsoft.com/office/powerpoint/2010/main" val="1744686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377650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0632747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8444000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36358" y="948263"/>
          <a:ext cx="11895212" cy="55949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4676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</a:tblGrid>
              <a:tr h="602422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b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</a:br>
                      <a:r>
                        <a:rPr lang="cs-CZ" sz="700" dirty="0"/>
                        <a:t>– do 21.10.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064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ový souče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96995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708342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36358" y="948263"/>
          <a:ext cx="11895212" cy="55949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4676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79662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</a:tblGrid>
              <a:tr h="602422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b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</a:br>
                      <a:r>
                        <a:rPr lang="cs-CZ" sz="700" dirty="0"/>
                        <a:t>– do 21.10.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064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ový souče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65086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3959098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7418853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Retrospektivní přehled nahlášených událostí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bg1"/>
                </a:solidFill>
              </a:rPr>
              <a:t>Hlášení KHS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7713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22670270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296016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42687853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6521713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94655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84FA52F-B93B-4B9E-8A46-38BB4E070F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4983521"/>
              </p:ext>
            </p:extLst>
          </p:nvPr>
        </p:nvGraphicFramePr>
        <p:xfrm>
          <a:off x="7429500" y="5737704"/>
          <a:ext cx="4564872" cy="731520"/>
        </p:xfrm>
        <a:graphic>
          <a:graphicData uri="http://schemas.openxmlformats.org/drawingml/2006/table">
            <a:tbl>
              <a:tblPr/>
              <a:tblGrid>
                <a:gridCol w="253604">
                  <a:extLst>
                    <a:ext uri="{9D8B030D-6E8A-4147-A177-3AD203B41FA5}">
                      <a16:colId xmlns:a16="http://schemas.microsoft.com/office/drawing/2014/main" val="328312918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2090195620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2912776077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848507785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1450274040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463011443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1331219854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509112254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2401576249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2376860142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49125029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195722793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739474190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3977690126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1915514284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1417326720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1719642149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2365720723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128" marR="9128" marT="912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239902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6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1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1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2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4519558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165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/>
        </p:nvSpPr>
        <p:spPr>
          <a:xfrm>
            <a:off x="90905" y="652236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5535760"/>
              </p:ext>
            </p:extLst>
          </p:nvPr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5644965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7347075"/>
              </p:ext>
            </p:extLst>
          </p:nvPr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10/2021 k 21. 10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515622" y="5505680"/>
            <a:ext cx="62709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21. 10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8780947"/>
              </p:ext>
            </p:extLst>
          </p:nvPr>
        </p:nvGraphicFramePr>
        <p:xfrm>
          <a:off x="47625" y="989354"/>
          <a:ext cx="6590128" cy="5487013"/>
        </p:xfrm>
        <a:graphic>
          <a:graphicData uri="http://schemas.openxmlformats.org/drawingml/2006/table">
            <a:tbl>
              <a:tblPr/>
              <a:tblGrid>
                <a:gridCol w="522584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43339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433396">
                  <a:extLst>
                    <a:ext uri="{9D8B030D-6E8A-4147-A177-3AD203B41FA5}">
                      <a16:colId xmlns:a16="http://schemas.microsoft.com/office/drawing/2014/main" val="492286941"/>
                    </a:ext>
                  </a:extLst>
                </a:gridCol>
                <a:gridCol w="433396">
                  <a:extLst>
                    <a:ext uri="{9D8B030D-6E8A-4147-A177-3AD203B41FA5}">
                      <a16:colId xmlns:a16="http://schemas.microsoft.com/office/drawing/2014/main" val="3966500144"/>
                    </a:ext>
                  </a:extLst>
                </a:gridCol>
                <a:gridCol w="433396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433396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433396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433396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433396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433396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433396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433396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433396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433396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433396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</a:tblGrid>
              <a:tr h="33251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 k 21. 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233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325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4 (4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3 (4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7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73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73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8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73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73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2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73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325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6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73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73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325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0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73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73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325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7 (3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9 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 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3251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6</a:t>
                      </a:r>
                      <a:b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60</a:t>
                      </a:r>
                      <a:b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0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83</a:t>
                      </a:r>
                      <a:b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0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8</a:t>
                      </a:r>
                      <a:b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5</a:t>
                      </a:r>
                      <a:b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1E4B5365-0539-4E92-B8FF-D6DAD0858D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5398428"/>
              </p:ext>
            </p:extLst>
          </p:nvPr>
        </p:nvGraphicFramePr>
        <p:xfrm>
          <a:off x="7429499" y="952767"/>
          <a:ext cx="4564872" cy="731520"/>
        </p:xfrm>
        <a:graphic>
          <a:graphicData uri="http://schemas.openxmlformats.org/drawingml/2006/table">
            <a:tbl>
              <a:tblPr/>
              <a:tblGrid>
                <a:gridCol w="253604">
                  <a:extLst>
                    <a:ext uri="{9D8B030D-6E8A-4147-A177-3AD203B41FA5}">
                      <a16:colId xmlns:a16="http://schemas.microsoft.com/office/drawing/2014/main" val="987279615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3140937273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3145807981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57336391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1482939793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3759873444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2071799903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3982067302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3761440081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3418011262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1607606399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4069048756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2403727228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2799744308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3839021373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2582037705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2234186461"/>
                    </a:ext>
                  </a:extLst>
                </a:gridCol>
                <a:gridCol w="253604">
                  <a:extLst>
                    <a:ext uri="{9D8B030D-6E8A-4147-A177-3AD203B41FA5}">
                      <a16:colId xmlns:a16="http://schemas.microsoft.com/office/drawing/2014/main" val="1203466553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8" marR="9128" marT="912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210762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,8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A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5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</a:t>
                      </a:r>
                    </a:p>
                  </a:txBody>
                  <a:tcPr marL="9128" marR="9128" marT="912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7248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746309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ECECA46-8394-4F01-B55B-D1EB1FFC9429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20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23056466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67361991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27166848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81747264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97457425"/>
                    </a:ext>
                  </a:extLst>
                </a:gridCol>
              </a:tblGrid>
              <a:tr h="4275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2370672"/>
                  </a:ext>
                </a:extLst>
              </a:tr>
              <a:tr h="4259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7774502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2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4 (5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22141689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37779816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231611932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984050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0776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92666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079164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137914940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084913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33702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8341298"/>
              </p:ext>
            </p:extLst>
          </p:nvPr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2908697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0147957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380567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1281883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75D0C5D-FF67-41F9-8B5C-C5D65B2918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8157118"/>
              </p:ext>
            </p:extLst>
          </p:nvPr>
        </p:nvGraphicFramePr>
        <p:xfrm>
          <a:off x="7353300" y="5543020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125472397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75018089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2455053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18022541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62025470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748957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48641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1. 10. 2021</a:t>
            </a: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0/2021 k 21. 10.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1183818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7532199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AA012D70-FAA4-4DFA-A539-E16A5C314D29}"/>
              </a:ext>
            </a:extLst>
          </p:cNvPr>
          <p:cNvSpPr/>
          <p:nvPr/>
        </p:nvSpPr>
        <p:spPr>
          <a:xfrm>
            <a:off x="10439468" y="3764570"/>
            <a:ext cx="17502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cs-CZ" sz="1000" b="1" dirty="0">
                <a:solidFill>
                  <a:srgbClr val="000000"/>
                </a:solidFill>
                <a:latin typeface="Arial" panose="020B0604020202020204"/>
              </a:rPr>
              <a:t>*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1CA649AC-3B20-4BA6-834D-44DEA669E6B8}"/>
              </a:ext>
            </a:extLst>
          </p:cNvPr>
          <p:cNvSpPr/>
          <p:nvPr/>
        </p:nvSpPr>
        <p:spPr>
          <a:xfrm>
            <a:off x="10458518" y="5875885"/>
            <a:ext cx="17502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cs-CZ" sz="1000" b="1" dirty="0">
                <a:solidFill>
                  <a:srgbClr val="000000"/>
                </a:solidFill>
                <a:latin typeface="Arial" panose="020B0604020202020204"/>
              </a:rPr>
              <a:t>*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D9387E5A-2984-47F2-8082-DF28636520F0}"/>
              </a:ext>
            </a:extLst>
          </p:cNvPr>
          <p:cNvSpPr/>
          <p:nvPr/>
        </p:nvSpPr>
        <p:spPr>
          <a:xfrm>
            <a:off x="10720857" y="1651535"/>
            <a:ext cx="119661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1000" b="1" dirty="0">
                <a:solidFill>
                  <a:srgbClr val="000000"/>
                </a:solidFill>
                <a:latin typeface="Arial" panose="020B0604020202020204"/>
              </a:rPr>
              <a:t>* předběžné údaje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43ADCC0-C087-4A49-9905-EBDB6D8B29A8}"/>
              </a:ext>
            </a:extLst>
          </p:cNvPr>
          <p:cNvSpPr/>
          <p:nvPr/>
        </p:nvSpPr>
        <p:spPr>
          <a:xfrm>
            <a:off x="5210243" y="1282709"/>
            <a:ext cx="17502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cs-CZ" sz="1000" b="1" dirty="0">
                <a:solidFill>
                  <a:srgbClr val="000000"/>
                </a:solidFill>
                <a:latin typeface="Arial" panose="020B0604020202020204"/>
              </a:rPr>
              <a:t>*</a:t>
            </a: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CDDF0867-32A9-4E29-89D7-5ECFDAD8B2C1}"/>
              </a:ext>
            </a:extLst>
          </p:cNvPr>
          <p:cNvSpPr/>
          <p:nvPr/>
        </p:nvSpPr>
        <p:spPr>
          <a:xfrm>
            <a:off x="5204356" y="6230407"/>
            <a:ext cx="17502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cs-CZ" sz="1000" b="1" dirty="0">
                <a:solidFill>
                  <a:srgbClr val="000000"/>
                </a:solidFill>
                <a:latin typeface="Arial" panose="020B0604020202020204"/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41741915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63557B0-0A1C-4265-BFD1-B37A38943F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2702994"/>
              </p:ext>
            </p:extLst>
          </p:nvPr>
        </p:nvGraphicFramePr>
        <p:xfrm>
          <a:off x="1003532" y="5723959"/>
          <a:ext cx="10940826" cy="731520"/>
        </p:xfrm>
        <a:graphic>
          <a:graphicData uri="http://schemas.openxmlformats.org/drawingml/2006/table">
            <a:tbl>
              <a:tblPr/>
              <a:tblGrid>
                <a:gridCol w="140267">
                  <a:extLst>
                    <a:ext uri="{9D8B030D-6E8A-4147-A177-3AD203B41FA5}">
                      <a16:colId xmlns:a16="http://schemas.microsoft.com/office/drawing/2014/main" val="2190071421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2154400011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556891852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329912748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490387825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781014773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2221085166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53827798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4031249717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816287360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2937456674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228938329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503125884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2906872920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04950315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972175324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238064121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643573907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2427751538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726365210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2448643421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42853110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358388659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908395302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953375267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356321105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509776165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2938517765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322327908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491317100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782772009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2590536372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4086981213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919158947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719452288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340316373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871209065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908557395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530118975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563578803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4158363098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250379143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897251739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4227689381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435684138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2722198124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152640450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2287147631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566504901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702078999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737750665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090350631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591632422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254565251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2155335921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4103839476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465395604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29474648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755096932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2003443189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332854663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4034470358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312092918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019937636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382795964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636428541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012772385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514641607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181574720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793746571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169435615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642376408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1520899304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487363670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557721929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4038985042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3805533732"/>
                    </a:ext>
                  </a:extLst>
                </a:gridCol>
                <a:gridCol w="140267">
                  <a:extLst>
                    <a:ext uri="{9D8B030D-6E8A-4147-A177-3AD203B41FA5}">
                      <a16:colId xmlns:a16="http://schemas.microsoft.com/office/drawing/2014/main" val="2792831723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454330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3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0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2106" marR="2106" marT="210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26621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875026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8158301"/>
              </p:ext>
            </p:extLst>
          </p:nvPr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1. 10. 2021</a:t>
            </a:r>
          </a:p>
        </p:txBody>
      </p:sp>
    </p:spTree>
    <p:extLst>
      <p:ext uri="{BB962C8B-B14F-4D97-AF65-F5344CB8AC3E}">
        <p14:creationId xmlns:p14="http://schemas.microsoft.com/office/powerpoint/2010/main" val="36883150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E07F1251-7342-451F-99AD-1E472B4869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5445417"/>
              </p:ext>
            </p:extLst>
          </p:nvPr>
        </p:nvGraphicFramePr>
        <p:xfrm>
          <a:off x="8258175" y="920746"/>
          <a:ext cx="876300" cy="5595777"/>
        </p:xfrm>
        <a:graphic>
          <a:graphicData uri="http://schemas.openxmlformats.org/drawingml/2006/table">
            <a:tbl>
              <a:tblPr/>
              <a:tblGrid>
                <a:gridCol w="876300">
                  <a:extLst>
                    <a:ext uri="{9D8B030D-6E8A-4147-A177-3AD203B41FA5}">
                      <a16:colId xmlns:a16="http://schemas.microsoft.com/office/drawing/2014/main" val="1910279050"/>
                    </a:ext>
                  </a:extLst>
                </a:gridCol>
              </a:tblGrid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331463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941470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0511208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0239138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494320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791094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855080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2665962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894698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5984737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606695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423962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637462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5387349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0532789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514249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3366372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0273412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221773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690922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5860321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58240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6236170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8625913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012362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3363346"/>
                  </a:ext>
                </a:extLst>
              </a:tr>
              <a:tr h="207251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786888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1. 10.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0683582"/>
              </p:ext>
            </p:extLst>
          </p:nvPr>
        </p:nvGraphicFramePr>
        <p:xfrm>
          <a:off x="1093233" y="681679"/>
          <a:ext cx="8517766" cy="5834846"/>
        </p:xfrm>
        <a:graphic>
          <a:graphicData uri="http://schemas.openxmlformats.org/drawingml/2006/table">
            <a:tbl>
              <a:tblPr/>
              <a:tblGrid>
                <a:gridCol w="295891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400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4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9 2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4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7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8596586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ýká se žádného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2072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52965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D9B2694E-9C0E-40CC-91E4-8211D7D51E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332491"/>
              </p:ext>
            </p:extLst>
          </p:nvPr>
        </p:nvGraphicFramePr>
        <p:xfrm>
          <a:off x="8390450" y="1120777"/>
          <a:ext cx="801175" cy="5395754"/>
        </p:xfrm>
        <a:graphic>
          <a:graphicData uri="http://schemas.openxmlformats.org/drawingml/2006/table">
            <a:tbl>
              <a:tblPr/>
              <a:tblGrid>
                <a:gridCol w="801175">
                  <a:extLst>
                    <a:ext uri="{9D8B030D-6E8A-4147-A177-3AD203B41FA5}">
                      <a16:colId xmlns:a16="http://schemas.microsoft.com/office/drawing/2014/main" val="1322898252"/>
                    </a:ext>
                  </a:extLst>
                </a:gridCol>
              </a:tblGrid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340174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18823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185245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6062336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6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6382169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4834873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6152927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613605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475166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248855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3059162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3532448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4927673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789756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5806016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2603103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2287115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091537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52789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315773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3869371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8738007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8330754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41303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230771"/>
                  </a:ext>
                </a:extLst>
              </a:tr>
              <a:tr h="207529">
                <a:tc>
                  <a:txBody>
                    <a:bodyPr/>
                    <a:lstStyle/>
                    <a:p>
                      <a:pPr algn="ctr" fontAlgn="ctr"/>
                      <a:endParaRPr lang="cs-CZ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368" marR="8368" marT="836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362061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1. 10. 2021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7407735"/>
              </p:ext>
            </p:extLst>
          </p:nvPr>
        </p:nvGraphicFramePr>
        <p:xfrm>
          <a:off x="1104900" y="660914"/>
          <a:ext cx="8622541" cy="5855611"/>
        </p:xfrm>
        <a:graphic>
          <a:graphicData uri="http://schemas.openxmlformats.org/drawingml/2006/table">
            <a:tbl>
              <a:tblPr/>
              <a:tblGrid>
                <a:gridCol w="3063685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614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804 (4 38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85 (46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223 (3 47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13 (38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 482 (14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70 (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94 (15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1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6 (15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1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09 (21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1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6 (3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(1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 (2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 (4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 (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(1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781449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ýká se žádného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4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20746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81497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bg1"/>
                </a:solidFill>
              </a:rPr>
              <a:t>Individuálně hlášené případy 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681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7809</TotalTime>
  <Words>9536</Words>
  <Application>Microsoft Office PowerPoint</Application>
  <PresentationFormat>Širokoúhlá obrazovka</PresentationFormat>
  <Paragraphs>4296</Paragraphs>
  <Slides>40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40</vt:i4>
      </vt:variant>
    </vt:vector>
  </HeadingPairs>
  <TitlesOfParts>
    <vt:vector size="44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ušek Ladislav prof. RNDr. Ph.D.</cp:lastModifiedBy>
  <cp:revision>474</cp:revision>
  <dcterms:created xsi:type="dcterms:W3CDTF">2020-11-14T10:09:00Z</dcterms:created>
  <dcterms:modified xsi:type="dcterms:W3CDTF">2021-10-24T17:30:53Z</dcterms:modified>
</cp:coreProperties>
</file>